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8"/>
  </p:notesMasterIdLst>
  <p:handoutMasterIdLst>
    <p:handoutMasterId r:id="rId9"/>
  </p:handoutMasterIdLst>
  <p:sldIdLst>
    <p:sldId id="257" r:id="rId2"/>
    <p:sldId id="262" r:id="rId3"/>
    <p:sldId id="263" r:id="rId4"/>
    <p:sldId id="266" r:id="rId5"/>
    <p:sldId id="264" r:id="rId6"/>
    <p:sldId id="265" r:id="rId7"/>
  </p:sldIdLst>
  <p:sldSz cx="9144000" cy="5143500" type="screen16x9"/>
  <p:notesSz cx="6858000" cy="9144000"/>
  <p:custDataLst>
    <p:tags r:id="rId10"/>
  </p:custDataLst>
  <p:defaultTextStyle>
    <a:defPPr>
      <a:defRPr lang="en-US"/>
    </a:defPPr>
    <a:lvl1pPr marL="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6C6C6"/>
    <a:srgbClr val="FD780F"/>
    <a:srgbClr val="8597A5"/>
    <a:srgbClr val="42444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592"/>
    <p:restoredTop sz="96327"/>
  </p:normalViewPr>
  <p:slideViewPr>
    <p:cSldViewPr snapToGrid="0" snapToObjects="1">
      <p:cViewPr>
        <p:scale>
          <a:sx n="150" d="100"/>
          <a:sy n="150" d="100"/>
        </p:scale>
        <p:origin x="-552" y="-390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92" d="100"/>
          <a:sy n="92" d="100"/>
        </p:scale>
        <p:origin x="4424" y="19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="" xmlns:a16="http://schemas.microsoft.com/office/drawing/2014/main" id="{74A2AE0C-787F-F048-9C7F-3941E4EB579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="" xmlns:a16="http://schemas.microsoft.com/office/drawing/2014/main" id="{60B1DD56-F818-B34B-B289-B42F1002BE0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0B111F-537A-A44D-9077-472A5CE198C7}" type="datetimeFigureOut">
              <a:rPr lang="de-DE" smtClean="0"/>
              <a:t>23.08.20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="" xmlns:a16="http://schemas.microsoft.com/office/drawing/2014/main" id="{11B576C4-CFDB-6F4F-9FD0-F03A6878FB4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B0249998-FB07-7E46-B780-C47CBBDA244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7649B8-39F8-2343-A333-6A7A78DE255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19277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DA1E77-5117-B348-899E-C7E9C4D9F712}" type="datetimeFigureOut">
              <a:rPr lang="de-DE" smtClean="0"/>
              <a:t>23.08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8489D3D-26F7-E94A-85B1-4DC7A85B894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14043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_Hintergrund-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="" xmlns:a16="http://schemas.microsoft.com/office/drawing/2014/main" id="{9965DD35-5C85-6648-9C88-0D668666637A}"/>
              </a:ext>
            </a:extLst>
          </p:cNvPr>
          <p:cNvSpPr/>
          <p:nvPr userDrawn="1"/>
        </p:nvSpPr>
        <p:spPr>
          <a:xfrm>
            <a:off x="0" y="408994"/>
            <a:ext cx="9144000" cy="47345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de-DE" sz="140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06" y="0"/>
            <a:ext cx="9142789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69873" y="420856"/>
            <a:ext cx="2008708" cy="532687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36500" y="517181"/>
            <a:ext cx="2285359" cy="325320"/>
          </a:xfrm>
          <a:prstGeom prst="rect">
            <a:avLst/>
          </a:prstGeom>
        </p:spPr>
      </p:pic>
      <p:sp>
        <p:nvSpPr>
          <p:cNvPr id="21" name="Textplatzhalter 41">
            <a:extLst>
              <a:ext uri="{FF2B5EF4-FFF2-40B4-BE49-F238E27FC236}">
                <a16:creationId xmlns="" xmlns:a16="http://schemas.microsoft.com/office/drawing/2014/main" id="{1ED3004E-4F4C-5B4F-A4BF-82D42CBA6CB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82679" y="1725555"/>
            <a:ext cx="5770930" cy="377026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20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itel der Präsentation</a:t>
            </a:r>
          </a:p>
        </p:txBody>
      </p:sp>
      <p:sp>
        <p:nvSpPr>
          <p:cNvPr id="22" name="Textplatzhalter 41">
            <a:extLst>
              <a:ext uri="{FF2B5EF4-FFF2-40B4-BE49-F238E27FC236}">
                <a16:creationId xmlns="" xmlns:a16="http://schemas.microsoft.com/office/drawing/2014/main" id="{CA834713-C1E5-0D46-8CD8-530742F6A36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82679" y="2186519"/>
            <a:ext cx="5770930" cy="25391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Vorstellung bei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am 01.02.2020</a:t>
            </a:r>
          </a:p>
        </p:txBody>
      </p:sp>
      <p:pic>
        <p:nvPicPr>
          <p:cNvPr id="2" name="Picture 2" descr="G:\Mafos\Huffer\BHu2020\gemeinsames Template PPT\final\Logos\SHS - Stahl-Holding-Saar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69903" y="976922"/>
            <a:ext cx="3703910" cy="4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4911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2x links mit Headline und schmales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=""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0000" y="756000"/>
            <a:ext cx="270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1" name="Textplatzhalter 41">
            <a:extLst>
              <a:ext uri="{FF2B5EF4-FFF2-40B4-BE49-F238E27FC236}">
                <a16:creationId xmlns="" xmlns:a16="http://schemas.microsoft.com/office/drawing/2014/main" id="{B9380605-3624-9F41-84C7-15AF33549A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8"/>
            <a:ext cx="5689722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4" name="Textplatzhalter 46">
            <a:extLst>
              <a:ext uri="{FF2B5EF4-FFF2-40B4-BE49-F238E27FC236}">
                <a16:creationId xmlns="" xmlns:a16="http://schemas.microsoft.com/office/drawing/2014/main" id="{F4185694-761D-9A4F-97C9-3545E8817C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1107001"/>
            <a:ext cx="5689722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Textmasterformat bearbeite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="" xmlns:a16="http://schemas.microsoft.com/office/drawing/2014/main" id="{24AE887B-FE28-DA4A-9C87-8C4D6B65766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>
            <a:extLst>
              <a:ext uri="{FF2B5EF4-FFF2-40B4-BE49-F238E27FC236}">
                <a16:creationId xmlns="" xmlns:a16="http://schemas.microsoft.com/office/drawing/2014/main" id="{A7F8B744-C88F-0F4E-81E6-8B27CE42C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A047DA73-4322-6345-9E96-7D6FECA7BB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3DB23B1A-9187-4AC2-A6E8-256A7CA6F393}" type="datetime1">
              <a:rPr lang="de-DE" smtClean="0"/>
              <a:t>23.08.2021</a:t>
            </a:fld>
            <a:endParaRPr lang="de-DE" dirty="0"/>
          </a:p>
        </p:txBody>
      </p:sp>
      <p:sp>
        <p:nvSpPr>
          <p:cNvPr id="12" name="Textplatzhalter 46">
            <a:extLst>
              <a:ext uri="{FF2B5EF4-FFF2-40B4-BE49-F238E27FC236}">
                <a16:creationId xmlns="" xmlns:a16="http://schemas.microsoft.com/office/drawing/2014/main" id="{D670A6B9-486E-DE47-8A3F-9760FB5484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4000" y="2821500"/>
            <a:ext cx="5689722" cy="272816"/>
          </a:xfrm>
          <a:prstGeom prst="rect">
            <a:avLst/>
          </a:prstGeom>
        </p:spPr>
        <p:txBody>
          <a:bodyPr wrap="square" lIns="68580" tIns="34290" rIns="68580" bIns="34290" numCol="2">
            <a:spAutoFit/>
          </a:bodyPr>
          <a:lstStyle>
            <a:lvl1pPr marL="214313" marR="0" indent="-214313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Textmasterformat bearbeiten</a:t>
            </a:r>
          </a:p>
        </p:txBody>
      </p:sp>
      <p:sp>
        <p:nvSpPr>
          <p:cNvPr id="1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18690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links mit Headline (4x) und schmales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=""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778487" y="756000"/>
            <a:ext cx="2041513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1" name="Textplatzhalter 41">
            <a:extLst>
              <a:ext uri="{FF2B5EF4-FFF2-40B4-BE49-F238E27FC236}">
                <a16:creationId xmlns="" xmlns:a16="http://schemas.microsoft.com/office/drawing/2014/main" id="{B9380605-3624-9F41-84C7-15AF33549A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8"/>
            <a:ext cx="4000326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4" name="Textplatzhalter 46">
            <a:extLst>
              <a:ext uri="{FF2B5EF4-FFF2-40B4-BE49-F238E27FC236}">
                <a16:creationId xmlns="" xmlns:a16="http://schemas.microsoft.com/office/drawing/2014/main" id="{F4185694-761D-9A4F-97C9-3545E8817C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949532"/>
            <a:ext cx="4000326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Textmasterformat bearbeite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="" xmlns:a16="http://schemas.microsoft.com/office/drawing/2014/main" id="{24AE887B-FE28-DA4A-9C87-8C4D6B65766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>
            <a:extLst>
              <a:ext uri="{FF2B5EF4-FFF2-40B4-BE49-F238E27FC236}">
                <a16:creationId xmlns="" xmlns:a16="http://schemas.microsoft.com/office/drawing/2014/main" id="{A7F8B744-C88F-0F4E-81E6-8B27CE42C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A047DA73-4322-6345-9E96-7D6FECA7BB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37A493B6-C0AD-49FB-AEAE-DFD93FEC1EA3}" type="datetime1">
              <a:rPr lang="de-DE" smtClean="0"/>
              <a:t>23.08.2021</a:t>
            </a:fld>
            <a:endParaRPr lang="de-DE" dirty="0"/>
          </a:p>
        </p:txBody>
      </p:sp>
      <p:sp>
        <p:nvSpPr>
          <p:cNvPr id="20" name="Textplatzhalter 41">
            <a:extLst>
              <a:ext uri="{FF2B5EF4-FFF2-40B4-BE49-F238E27FC236}">
                <a16:creationId xmlns="" xmlns:a16="http://schemas.microsoft.com/office/drawing/2014/main" id="{244B6997-5877-D245-B666-400CC0BB699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34327" y="697888"/>
            <a:ext cx="2464647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</a:t>
            </a:r>
          </a:p>
        </p:txBody>
      </p:sp>
      <p:sp>
        <p:nvSpPr>
          <p:cNvPr id="21" name="Textplatzhalter 46">
            <a:extLst>
              <a:ext uri="{FF2B5EF4-FFF2-40B4-BE49-F238E27FC236}">
                <a16:creationId xmlns="" xmlns:a16="http://schemas.microsoft.com/office/drawing/2014/main" id="{E96D37C8-BAE9-E244-854C-09E43E55041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234325" y="949532"/>
            <a:ext cx="2464647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Textmasterformat bearbeiten</a:t>
            </a:r>
          </a:p>
        </p:txBody>
      </p:sp>
      <p:sp>
        <p:nvSpPr>
          <p:cNvPr id="22" name="Textplatzhalter 41">
            <a:extLst>
              <a:ext uri="{FF2B5EF4-FFF2-40B4-BE49-F238E27FC236}">
                <a16:creationId xmlns="" xmlns:a16="http://schemas.microsoft.com/office/drawing/2014/main" id="{82F7F0E5-A895-8140-8EB0-24D12AFEBF0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34001" y="3016190"/>
            <a:ext cx="4000326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23" name="Textplatzhalter 46">
            <a:extLst>
              <a:ext uri="{FF2B5EF4-FFF2-40B4-BE49-F238E27FC236}">
                <a16:creationId xmlns="" xmlns:a16="http://schemas.microsoft.com/office/drawing/2014/main" id="{3AA57C1A-C2FA-B344-AF54-03374595061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4000" y="3267835"/>
            <a:ext cx="4000326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Textmasterformat bearbeiten</a:t>
            </a:r>
          </a:p>
        </p:txBody>
      </p:sp>
      <p:sp>
        <p:nvSpPr>
          <p:cNvPr id="24" name="Textplatzhalter 41">
            <a:extLst>
              <a:ext uri="{FF2B5EF4-FFF2-40B4-BE49-F238E27FC236}">
                <a16:creationId xmlns="" xmlns:a16="http://schemas.microsoft.com/office/drawing/2014/main" id="{2525E463-BF65-0841-8751-A9232DB2030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234327" y="3016190"/>
            <a:ext cx="2464647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</a:t>
            </a:r>
          </a:p>
        </p:txBody>
      </p:sp>
      <p:sp>
        <p:nvSpPr>
          <p:cNvPr id="25" name="Textplatzhalter 46">
            <a:extLst>
              <a:ext uri="{FF2B5EF4-FFF2-40B4-BE49-F238E27FC236}">
                <a16:creationId xmlns="" xmlns:a16="http://schemas.microsoft.com/office/drawing/2014/main" id="{7700D6C6-2C9C-5440-AE8F-A04BC73D3B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234325" y="3267835"/>
            <a:ext cx="2464647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Textmasterformat bearbeiten</a:t>
            </a:r>
          </a:p>
        </p:txBody>
      </p:sp>
      <p:sp>
        <p:nvSpPr>
          <p:cNvPr id="1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85934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rechts mit Headline und schmales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=""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5609" y="756000"/>
            <a:ext cx="270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1" name="Textplatzhalter 41">
            <a:extLst>
              <a:ext uri="{FF2B5EF4-FFF2-40B4-BE49-F238E27FC236}">
                <a16:creationId xmlns="" xmlns:a16="http://schemas.microsoft.com/office/drawing/2014/main" id="{B9380605-3624-9F41-84C7-15AF33549A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0216" y="697888"/>
            <a:ext cx="5589783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4" name="Textplatzhalter 46">
            <a:extLst>
              <a:ext uri="{FF2B5EF4-FFF2-40B4-BE49-F238E27FC236}">
                <a16:creationId xmlns="" xmlns:a16="http://schemas.microsoft.com/office/drawing/2014/main" id="{F4185694-761D-9A4F-97C9-3545E8817C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30216" y="1107001"/>
            <a:ext cx="5589783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Textmasterformat bearbeite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="" xmlns:a16="http://schemas.microsoft.com/office/drawing/2014/main" id="{24AE887B-FE28-DA4A-9C87-8C4D6B65766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>
            <a:extLst>
              <a:ext uri="{FF2B5EF4-FFF2-40B4-BE49-F238E27FC236}">
                <a16:creationId xmlns="" xmlns:a16="http://schemas.microsoft.com/office/drawing/2014/main" id="{A7F8B744-C88F-0F4E-81E6-8B27CE42C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A047DA73-4322-6345-9E96-7D6FECA7BB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2904B3CD-E2B2-4C2D-A136-AD33C9D4D7F8}" type="datetime1">
              <a:rPr lang="de-DE" smtClean="0"/>
              <a:t>23.08.2021</a:t>
            </a:fld>
            <a:endParaRPr lang="de-DE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6939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x Text rechts mit Headline und schmales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=""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5609" y="756000"/>
            <a:ext cx="270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="" xmlns:a16="http://schemas.microsoft.com/office/drawing/2014/main" id="{24AE887B-FE28-DA4A-9C87-8C4D6B65766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>
            <a:extLst>
              <a:ext uri="{FF2B5EF4-FFF2-40B4-BE49-F238E27FC236}">
                <a16:creationId xmlns="" xmlns:a16="http://schemas.microsoft.com/office/drawing/2014/main" id="{A7F8B744-C88F-0F4E-81E6-8B27CE42C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A047DA73-4322-6345-9E96-7D6FECA7BB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18C6B73E-2377-4D37-834F-82F854251A1A}" type="datetime1">
              <a:rPr lang="de-DE" smtClean="0"/>
              <a:t>23.08.2021</a:t>
            </a:fld>
            <a:endParaRPr lang="de-DE" dirty="0"/>
          </a:p>
        </p:txBody>
      </p:sp>
      <p:sp>
        <p:nvSpPr>
          <p:cNvPr id="18" name="Textplatzhalter 41">
            <a:extLst>
              <a:ext uri="{FF2B5EF4-FFF2-40B4-BE49-F238E27FC236}">
                <a16:creationId xmlns="" xmlns:a16="http://schemas.microsoft.com/office/drawing/2014/main" id="{BDA40EE1-F184-D443-8CF7-48E0718B445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230215" y="697889"/>
            <a:ext cx="2700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9" name="Textplatzhalter 46">
            <a:extLst>
              <a:ext uri="{FF2B5EF4-FFF2-40B4-BE49-F238E27FC236}">
                <a16:creationId xmlns="" xmlns:a16="http://schemas.microsoft.com/office/drawing/2014/main" id="{726F3A1F-4DA0-3D4D-9D75-5738C114E72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30214" y="1107001"/>
            <a:ext cx="2700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Textmasterformat bearbeiten</a:t>
            </a:r>
          </a:p>
        </p:txBody>
      </p:sp>
      <p:sp>
        <p:nvSpPr>
          <p:cNvPr id="20" name="Textplatzhalter 41">
            <a:extLst>
              <a:ext uri="{FF2B5EF4-FFF2-40B4-BE49-F238E27FC236}">
                <a16:creationId xmlns="" xmlns:a16="http://schemas.microsoft.com/office/drawing/2014/main" id="{EBCFAD3D-DD28-0949-89D5-5330F79D3A3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73215" y="697889"/>
            <a:ext cx="2665177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21" name="Textplatzhalter 46">
            <a:extLst>
              <a:ext uri="{FF2B5EF4-FFF2-40B4-BE49-F238E27FC236}">
                <a16:creationId xmlns="" xmlns:a16="http://schemas.microsoft.com/office/drawing/2014/main" id="{41D21E79-37E7-F543-948B-D70F6DFE84C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73214" y="1107001"/>
            <a:ext cx="2665177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Textmasterformat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936869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oben mit Headline und Bi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41">
            <a:extLst>
              <a:ext uri="{FF2B5EF4-FFF2-40B4-BE49-F238E27FC236}">
                <a16:creationId xmlns="" xmlns:a16="http://schemas.microsoft.com/office/drawing/2014/main" id="{CDE5885E-6B51-F943-99AE-CF33A792FA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7"/>
            <a:ext cx="8586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9" name="Textplatzhalter 46">
            <a:extLst>
              <a:ext uri="{FF2B5EF4-FFF2-40B4-BE49-F238E27FC236}">
                <a16:creationId xmlns="" xmlns:a16="http://schemas.microsoft.com/office/drawing/2014/main" id="{131F7372-4929-734F-935A-5001E1EFF6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1107001"/>
            <a:ext cx="8586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Textmasterformat bearbeiten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=""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7870" y="2348119"/>
            <a:ext cx="8475174" cy="2174381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=""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=""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859BCDE9-D454-4ABF-8A21-98EC818B1C6E}" type="datetime1">
              <a:rPr lang="de-DE" smtClean="0"/>
              <a:t>23.08.2021</a:t>
            </a:fld>
            <a:endParaRPr lang="de-DE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31714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oben mit Headline und 2x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41">
            <a:extLst>
              <a:ext uri="{FF2B5EF4-FFF2-40B4-BE49-F238E27FC236}">
                <a16:creationId xmlns="" xmlns:a16="http://schemas.microsoft.com/office/drawing/2014/main" id="{CDE5885E-6B51-F943-99AE-CF33A792FA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7"/>
            <a:ext cx="8586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9" name="Textplatzhalter 46">
            <a:extLst>
              <a:ext uri="{FF2B5EF4-FFF2-40B4-BE49-F238E27FC236}">
                <a16:creationId xmlns="" xmlns:a16="http://schemas.microsoft.com/office/drawing/2014/main" id="{131F7372-4929-734F-935A-5001E1EFF6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1107001"/>
            <a:ext cx="8586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Textmasterformat bearbeiten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=""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7871" y="2348119"/>
            <a:ext cx="4084982" cy="2174381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=""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=""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F9F6D2D9-B26A-4B4B-8DEB-E3F0C9E6586D}" type="datetime1">
              <a:rPr lang="de-DE" smtClean="0"/>
              <a:t>23.08.2021</a:t>
            </a:fld>
            <a:endParaRPr lang="de-DE" dirty="0"/>
          </a:p>
        </p:txBody>
      </p:sp>
      <p:sp>
        <p:nvSpPr>
          <p:cNvPr id="10" name="Bildplatzhalter 2">
            <a:extLst>
              <a:ext uri="{FF2B5EF4-FFF2-40B4-BE49-F238E27FC236}">
                <a16:creationId xmlns="" xmlns:a16="http://schemas.microsoft.com/office/drawing/2014/main" id="{D46A23EF-49AD-4143-8C16-8A03848EED5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735018" y="2348119"/>
            <a:ext cx="4084982" cy="2174381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68850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2x Bild mit Headline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41">
            <a:extLst>
              <a:ext uri="{FF2B5EF4-FFF2-40B4-BE49-F238E27FC236}">
                <a16:creationId xmlns="" xmlns:a16="http://schemas.microsoft.com/office/drawing/2014/main" id="{CDE5885E-6B51-F943-99AE-CF33A792FA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2485390"/>
            <a:ext cx="4140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9" name="Textplatzhalter 46">
            <a:extLst>
              <a:ext uri="{FF2B5EF4-FFF2-40B4-BE49-F238E27FC236}">
                <a16:creationId xmlns="" xmlns:a16="http://schemas.microsoft.com/office/drawing/2014/main" id="{131F7372-4929-734F-935A-5001E1EFF6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2775235"/>
            <a:ext cx="4140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Textmasterformat bearbeiten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=""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3000" y="733612"/>
            <a:ext cx="4140000" cy="1621962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=""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=""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EF2D43E2-33BF-41E2-8988-8978FB7BE6F8}" type="datetime1">
              <a:rPr lang="de-DE" smtClean="0"/>
              <a:t>23.08.2021</a:t>
            </a:fld>
            <a:endParaRPr lang="de-DE" dirty="0"/>
          </a:p>
        </p:txBody>
      </p:sp>
      <p:sp>
        <p:nvSpPr>
          <p:cNvPr id="10" name="Textplatzhalter 41">
            <a:extLst>
              <a:ext uri="{FF2B5EF4-FFF2-40B4-BE49-F238E27FC236}">
                <a16:creationId xmlns="" xmlns:a16="http://schemas.microsoft.com/office/drawing/2014/main" id="{3BF519DD-192B-1C48-AD5D-6D1A16DB2C4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00488" y="2485390"/>
            <a:ext cx="4140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1" name="Textplatzhalter 46">
            <a:extLst>
              <a:ext uri="{FF2B5EF4-FFF2-40B4-BE49-F238E27FC236}">
                <a16:creationId xmlns="" xmlns:a16="http://schemas.microsoft.com/office/drawing/2014/main" id="{640D9BEE-04AF-0A40-8593-1AC0308866C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00487" y="2775235"/>
            <a:ext cx="4140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Textmasterformat bearbeiten</a:t>
            </a:r>
          </a:p>
        </p:txBody>
      </p:sp>
      <p:sp>
        <p:nvSpPr>
          <p:cNvPr id="16" name="Bildplatzhalter 2">
            <a:extLst>
              <a:ext uri="{FF2B5EF4-FFF2-40B4-BE49-F238E27FC236}">
                <a16:creationId xmlns="" xmlns:a16="http://schemas.microsoft.com/office/drawing/2014/main" id="{3301D1D7-3478-624D-9338-2B6D375E556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680000" y="733612"/>
            <a:ext cx="4140000" cy="1621962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0934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2x Bild mit Headline und Text (4x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41">
            <a:extLst>
              <a:ext uri="{FF2B5EF4-FFF2-40B4-BE49-F238E27FC236}">
                <a16:creationId xmlns="" xmlns:a16="http://schemas.microsoft.com/office/drawing/2014/main" id="{CDE5885E-6B51-F943-99AE-CF33A792FA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2063480"/>
            <a:ext cx="4140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=""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3000" y="733612"/>
            <a:ext cx="4140000" cy="1189118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=""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=""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2F0AE24-04D3-4F60-9ADA-A27FD34B1EA1}" type="datetime1">
              <a:rPr lang="de-DE" smtClean="0"/>
              <a:t>23.08.2021</a:t>
            </a:fld>
            <a:endParaRPr lang="de-DE" dirty="0"/>
          </a:p>
        </p:txBody>
      </p:sp>
      <p:sp>
        <p:nvSpPr>
          <p:cNvPr id="16" name="Bildplatzhalter 2">
            <a:extLst>
              <a:ext uri="{FF2B5EF4-FFF2-40B4-BE49-F238E27FC236}">
                <a16:creationId xmlns="" xmlns:a16="http://schemas.microsoft.com/office/drawing/2014/main" id="{3301D1D7-3478-624D-9338-2B6D375E556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680000" y="733612"/>
            <a:ext cx="4140000" cy="1189118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38" name="Textplatzhalter 41">
            <a:extLst>
              <a:ext uri="{FF2B5EF4-FFF2-40B4-BE49-F238E27FC236}">
                <a16:creationId xmlns="" xmlns:a16="http://schemas.microsoft.com/office/drawing/2014/main" id="{B7F01550-C20C-7647-B4A5-C2D997D8D1C3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34001" y="2257755"/>
            <a:ext cx="4140000" cy="22313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 b="0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1" name="Textplatzhalter 41">
            <a:extLst>
              <a:ext uri="{FF2B5EF4-FFF2-40B4-BE49-F238E27FC236}">
                <a16:creationId xmlns="" xmlns:a16="http://schemas.microsoft.com/office/drawing/2014/main" id="{88CA1FB5-9790-3A4C-945F-5A527D0D2EC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587340" y="2063480"/>
            <a:ext cx="4140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42" name="Textplatzhalter 41">
            <a:extLst>
              <a:ext uri="{FF2B5EF4-FFF2-40B4-BE49-F238E27FC236}">
                <a16:creationId xmlns="" xmlns:a16="http://schemas.microsoft.com/office/drawing/2014/main" id="{6D448B81-7038-3F4E-AE17-EDEC03D4AE77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587340" y="2257755"/>
            <a:ext cx="4140000" cy="22313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 b="0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3" name="Textplatzhalter 41">
            <a:extLst>
              <a:ext uri="{FF2B5EF4-FFF2-40B4-BE49-F238E27FC236}">
                <a16:creationId xmlns="" xmlns:a16="http://schemas.microsoft.com/office/drawing/2014/main" id="{D4EB633E-B64F-D84F-A14B-AA243AE51A2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34001" y="3546893"/>
            <a:ext cx="4140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44" name="Textplatzhalter 41">
            <a:extLst>
              <a:ext uri="{FF2B5EF4-FFF2-40B4-BE49-F238E27FC236}">
                <a16:creationId xmlns="" xmlns:a16="http://schemas.microsoft.com/office/drawing/2014/main" id="{6A0E17F6-BC74-3249-82A3-4BC272D99A7D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234001" y="3741168"/>
            <a:ext cx="4140000" cy="22313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 b="0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5" name="Textplatzhalter 41">
            <a:extLst>
              <a:ext uri="{FF2B5EF4-FFF2-40B4-BE49-F238E27FC236}">
                <a16:creationId xmlns="" xmlns:a16="http://schemas.microsoft.com/office/drawing/2014/main" id="{F75F5F66-3DE8-B94F-B78B-16A952BD0B5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587340" y="3546893"/>
            <a:ext cx="4140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46" name="Textplatzhalter 41">
            <a:extLst>
              <a:ext uri="{FF2B5EF4-FFF2-40B4-BE49-F238E27FC236}">
                <a16:creationId xmlns="" xmlns:a16="http://schemas.microsoft.com/office/drawing/2014/main" id="{7A90A033-0D31-DE43-8923-A2F7D810AA8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587340" y="3741168"/>
            <a:ext cx="4140000" cy="22313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 b="0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5298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 rechts mit Headline und schmales Bild links sowie 3 rund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=""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5609" y="756000"/>
            <a:ext cx="270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="" xmlns:a16="http://schemas.microsoft.com/office/drawing/2014/main" id="{24AE887B-FE28-DA4A-9C87-8C4D6B65766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>
            <a:extLst>
              <a:ext uri="{FF2B5EF4-FFF2-40B4-BE49-F238E27FC236}">
                <a16:creationId xmlns="" xmlns:a16="http://schemas.microsoft.com/office/drawing/2014/main" id="{A7F8B744-C88F-0F4E-81E6-8B27CE42C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A047DA73-4322-6345-9E96-7D6FECA7BB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EE36181-0326-44FE-B68A-1FC7A46D2DC6}" type="datetime1">
              <a:rPr lang="de-DE" smtClean="0"/>
              <a:t>23.08.2021</a:t>
            </a:fld>
            <a:endParaRPr lang="de-DE" dirty="0"/>
          </a:p>
        </p:txBody>
      </p:sp>
      <p:sp>
        <p:nvSpPr>
          <p:cNvPr id="18" name="Bildplatzhalter 17">
            <a:extLst>
              <a:ext uri="{FF2B5EF4-FFF2-40B4-BE49-F238E27FC236}">
                <a16:creationId xmlns="" xmlns:a16="http://schemas.microsoft.com/office/drawing/2014/main" id="{824E80C9-A3DB-524F-84FB-D698676E90B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230216" y="3265004"/>
            <a:ext cx="1258200" cy="1258200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19" name="Bildplatzhalter 17">
            <a:extLst>
              <a:ext uri="{FF2B5EF4-FFF2-40B4-BE49-F238E27FC236}">
                <a16:creationId xmlns="" xmlns:a16="http://schemas.microsoft.com/office/drawing/2014/main" id="{1CBC08E7-DE1D-334B-8927-4925C7971A6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396006" y="3265004"/>
            <a:ext cx="1258200" cy="1257495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20" name="Bildplatzhalter 17">
            <a:extLst>
              <a:ext uri="{FF2B5EF4-FFF2-40B4-BE49-F238E27FC236}">
                <a16:creationId xmlns="" xmlns:a16="http://schemas.microsoft.com/office/drawing/2014/main" id="{8A61D413-D433-D143-8EEC-86EFCF56E60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561798" y="3265004"/>
            <a:ext cx="1258200" cy="1257495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3" name="Textplatzhalter 41">
            <a:extLst>
              <a:ext uri="{FF2B5EF4-FFF2-40B4-BE49-F238E27FC236}">
                <a16:creationId xmlns="" xmlns:a16="http://schemas.microsoft.com/office/drawing/2014/main" id="{E183786A-8CAB-DA4F-988A-B14D7D588D6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230216" y="697888"/>
            <a:ext cx="5589783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24" name="Textplatzhalter 46">
            <a:extLst>
              <a:ext uri="{FF2B5EF4-FFF2-40B4-BE49-F238E27FC236}">
                <a16:creationId xmlns="" xmlns:a16="http://schemas.microsoft.com/office/drawing/2014/main" id="{D04280F3-04C2-294B-9266-68E7C4083C5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30215" y="1107001"/>
            <a:ext cx="5589783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Textmasterformat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816605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 links mit Headline und 3x runde Bilder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41">
            <a:extLst>
              <a:ext uri="{FF2B5EF4-FFF2-40B4-BE49-F238E27FC236}">
                <a16:creationId xmlns="" xmlns:a16="http://schemas.microsoft.com/office/drawing/2014/main" id="{CDE5885E-6B51-F943-99AE-CF33A792FA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8"/>
            <a:ext cx="4338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9" name="Textplatzhalter 46">
            <a:extLst>
              <a:ext uri="{FF2B5EF4-FFF2-40B4-BE49-F238E27FC236}">
                <a16:creationId xmlns="" xmlns:a16="http://schemas.microsoft.com/office/drawing/2014/main" id="{131F7372-4929-734F-935A-5001E1EFF6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1107001"/>
            <a:ext cx="4338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Textmasterformat bearbeiten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=""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=""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802C932-8694-4D47-8036-E73AF92D3C8E}" type="datetime1">
              <a:rPr lang="de-DE" smtClean="0"/>
              <a:t>23.08.2021</a:t>
            </a:fld>
            <a:endParaRPr lang="de-DE" dirty="0"/>
          </a:p>
        </p:txBody>
      </p:sp>
      <p:sp>
        <p:nvSpPr>
          <p:cNvPr id="10" name="Bildplatzhalter 17">
            <a:extLst>
              <a:ext uri="{FF2B5EF4-FFF2-40B4-BE49-F238E27FC236}">
                <a16:creationId xmlns="" xmlns:a16="http://schemas.microsoft.com/office/drawing/2014/main" id="{FC13D9C5-5CA4-0B45-9ABD-EA38DD7DF03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306487" y="697888"/>
            <a:ext cx="1587600" cy="1587600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1" name="Bildplatzhalter 17">
            <a:extLst>
              <a:ext uri="{FF2B5EF4-FFF2-40B4-BE49-F238E27FC236}">
                <a16:creationId xmlns="" xmlns:a16="http://schemas.microsoft.com/office/drawing/2014/main" id="{51D8C4BE-A11D-114C-A259-8F3C67569D85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306487" y="3009005"/>
            <a:ext cx="1587600" cy="1588404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16" name="Bildplatzhalter 17">
            <a:extLst>
              <a:ext uri="{FF2B5EF4-FFF2-40B4-BE49-F238E27FC236}">
                <a16:creationId xmlns="" xmlns:a16="http://schemas.microsoft.com/office/drawing/2014/main" id="{0866A54E-CEB5-4B45-8520-62AB037DFC4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232400" y="1777548"/>
            <a:ext cx="1587600" cy="1588404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194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riftdefin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41">
            <a:extLst>
              <a:ext uri="{FF2B5EF4-FFF2-40B4-BE49-F238E27FC236}">
                <a16:creationId xmlns="" xmlns:a16="http://schemas.microsoft.com/office/drawing/2014/main" id="{9131D5EE-EDDD-7446-BC0A-DA34F4CF344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34001" y="697888"/>
            <a:ext cx="4338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Zwischenheadline in Arial </a:t>
            </a:r>
            <a:r>
              <a:rPr lang="de-DE" dirty="0" err="1"/>
              <a:t>Bold</a:t>
            </a:r>
            <a:endParaRPr lang="de-DE" dirty="0"/>
          </a:p>
        </p:txBody>
      </p:sp>
      <p:sp>
        <p:nvSpPr>
          <p:cNvPr id="5" name="Textplatzhalter 46">
            <a:extLst>
              <a:ext uri="{FF2B5EF4-FFF2-40B4-BE49-F238E27FC236}">
                <a16:creationId xmlns="" xmlns:a16="http://schemas.microsoft.com/office/drawing/2014/main" id="{6596D7CA-90B9-5741-8B75-5B30C2B472A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34000" y="1107000"/>
            <a:ext cx="4338000" cy="723275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Für den Fließtext sollte Arial Regular verwendet werden. Einzelne Wörter könnte mit dem </a:t>
            </a:r>
            <a:r>
              <a:rPr lang="de-DE" sz="1200" kern="1200" baseline="0" dirty="0" err="1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Bold</a:t>
            </a:r>
            <a:r>
              <a:rPr lang="de-DE" sz="1200" kern="1200" baseline="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-Schnitt hervorgehoben werden.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="" xmlns:a16="http://schemas.microsoft.com/office/drawing/2014/main" id="{6A974882-8A0E-0645-954D-237E023197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019601"/>
            <a:ext cx="4338000" cy="24878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ts val="1350"/>
              </a:lnSpc>
              <a:spcBef>
                <a:spcPts val="0"/>
              </a:spcBef>
              <a:buFontTx/>
              <a:buNone/>
              <a:defRPr sz="1000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Beschriftungen, Zusatzinfos in Arial Regular 13 P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="" xmlns:a16="http://schemas.microsoft.com/office/drawing/2014/main" id="{2BA91D8C-755B-F94C-80E5-2887549C0D9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4001" y="2457000"/>
            <a:ext cx="3963053" cy="24878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ts val="1350"/>
              </a:lnSpc>
              <a:spcBef>
                <a:spcPts val="0"/>
              </a:spcBef>
              <a:buFontTx/>
              <a:buNone/>
              <a:defRPr sz="1000" b="0" i="1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Bildunterschriften in Arial 13 Pt Italic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="" xmlns:a16="http://schemas.microsoft.com/office/drawing/2014/main" id="{6AF4A1D2-26AF-FC4D-B0D2-7105CB9BA47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itel 13">
            <a:extLst>
              <a:ext uri="{FF2B5EF4-FFF2-40B4-BE49-F238E27FC236}">
                <a16:creationId xmlns="" xmlns:a16="http://schemas.microsoft.com/office/drawing/2014/main" id="{4BD51A52-3A93-1846-B1A9-87A8E620C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5141848F-6705-EE49-9E7A-C4D2785602D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23.08.2021</a:t>
            </a:fld>
            <a:endParaRPr lang="de-DE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162090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 links und 3x runde Bilder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liennummernplatzhalter 13">
            <a:extLst>
              <a:ext uri="{FF2B5EF4-FFF2-40B4-BE49-F238E27FC236}">
                <a16:creationId xmlns=""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=""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D522FE2C-A6D9-4590-A1CE-B501E99953F5}" type="datetime1">
              <a:rPr lang="de-DE" smtClean="0"/>
              <a:t>23.08.2021</a:t>
            </a:fld>
            <a:endParaRPr lang="de-DE" dirty="0"/>
          </a:p>
        </p:txBody>
      </p:sp>
      <p:sp>
        <p:nvSpPr>
          <p:cNvPr id="13" name="Textplatzhalter 46">
            <a:extLst>
              <a:ext uri="{FF2B5EF4-FFF2-40B4-BE49-F238E27FC236}">
                <a16:creationId xmlns="" xmlns:a16="http://schemas.microsoft.com/office/drawing/2014/main" id="{103C06DB-B92D-8947-94AE-25D97867E4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663168"/>
            <a:ext cx="4338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Textmasterformat bearbeiten</a:t>
            </a:r>
          </a:p>
        </p:txBody>
      </p:sp>
      <p:sp>
        <p:nvSpPr>
          <p:cNvPr id="17" name="Bildplatzhalter 17">
            <a:extLst>
              <a:ext uri="{FF2B5EF4-FFF2-40B4-BE49-F238E27FC236}">
                <a16:creationId xmlns="" xmlns:a16="http://schemas.microsoft.com/office/drawing/2014/main" id="{CFEB8F0C-2273-2C43-9B92-917DFCF9852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306487" y="697888"/>
            <a:ext cx="1587600" cy="1587600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8" name="Bildplatzhalter 17">
            <a:extLst>
              <a:ext uri="{FF2B5EF4-FFF2-40B4-BE49-F238E27FC236}">
                <a16:creationId xmlns="" xmlns:a16="http://schemas.microsoft.com/office/drawing/2014/main" id="{0DD43913-640C-3043-A294-ECBA6509C52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306487" y="3009005"/>
            <a:ext cx="1587600" cy="1588404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19" name="Bildplatzhalter 17">
            <a:extLst>
              <a:ext uri="{FF2B5EF4-FFF2-40B4-BE49-F238E27FC236}">
                <a16:creationId xmlns="" xmlns:a16="http://schemas.microsoft.com/office/drawing/2014/main" id="{1B7E8813-1095-E848-A02E-2AF1DF6FF5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232400" y="1777548"/>
            <a:ext cx="1587600" cy="1588404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5267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4x Text links mit Headline und 3x runde Bilder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liennummernplatzhalter 13">
            <a:extLst>
              <a:ext uri="{FF2B5EF4-FFF2-40B4-BE49-F238E27FC236}">
                <a16:creationId xmlns=""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=""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FB1A39E2-7EE3-42EC-8CB1-72ADC3F9EF04}" type="datetime1">
              <a:rPr lang="de-DE" smtClean="0"/>
              <a:t>23.08.2021</a:t>
            </a:fld>
            <a:endParaRPr lang="de-DE" dirty="0"/>
          </a:p>
        </p:txBody>
      </p:sp>
      <p:sp>
        <p:nvSpPr>
          <p:cNvPr id="10" name="Bildplatzhalter 17">
            <a:extLst>
              <a:ext uri="{FF2B5EF4-FFF2-40B4-BE49-F238E27FC236}">
                <a16:creationId xmlns="" xmlns:a16="http://schemas.microsoft.com/office/drawing/2014/main" id="{FC13D9C5-5CA4-0B45-9ABD-EA38DD7DF03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828239" y="697889"/>
            <a:ext cx="1306800" cy="1306800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1" name="Bildplatzhalter 17">
            <a:extLst>
              <a:ext uri="{FF2B5EF4-FFF2-40B4-BE49-F238E27FC236}">
                <a16:creationId xmlns="" xmlns:a16="http://schemas.microsoft.com/office/drawing/2014/main" id="{51D8C4BE-A11D-114C-A259-8F3C67569D85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828238" y="3290459"/>
            <a:ext cx="1306800" cy="1306951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6" name="Bildplatzhalter 17">
            <a:extLst>
              <a:ext uri="{FF2B5EF4-FFF2-40B4-BE49-F238E27FC236}">
                <a16:creationId xmlns="" xmlns:a16="http://schemas.microsoft.com/office/drawing/2014/main" id="{0866A54E-CEB5-4B45-8520-62AB037DFC4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555624" y="1983508"/>
            <a:ext cx="1306800" cy="1306951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9" name="Textplatzhalter 41">
            <a:extLst>
              <a:ext uri="{FF2B5EF4-FFF2-40B4-BE49-F238E27FC236}">
                <a16:creationId xmlns="" xmlns:a16="http://schemas.microsoft.com/office/drawing/2014/main" id="{3584CA94-D8F3-424A-8BA3-C3723D077D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8"/>
            <a:ext cx="4000326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30" name="Textplatzhalter 46">
            <a:extLst>
              <a:ext uri="{FF2B5EF4-FFF2-40B4-BE49-F238E27FC236}">
                <a16:creationId xmlns="" xmlns:a16="http://schemas.microsoft.com/office/drawing/2014/main" id="{1D940F45-0317-C54E-BE59-F05322F1E0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949532"/>
            <a:ext cx="4000326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Textmasterformat bearbeiten</a:t>
            </a:r>
          </a:p>
        </p:txBody>
      </p:sp>
      <p:sp>
        <p:nvSpPr>
          <p:cNvPr id="31" name="Textplatzhalter 41">
            <a:extLst>
              <a:ext uri="{FF2B5EF4-FFF2-40B4-BE49-F238E27FC236}">
                <a16:creationId xmlns="" xmlns:a16="http://schemas.microsoft.com/office/drawing/2014/main" id="{351E19C5-C977-6347-AC3C-C309E37FA55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34327" y="697888"/>
            <a:ext cx="2464647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</a:t>
            </a:r>
          </a:p>
        </p:txBody>
      </p:sp>
      <p:sp>
        <p:nvSpPr>
          <p:cNvPr id="32" name="Textplatzhalter 46">
            <a:extLst>
              <a:ext uri="{FF2B5EF4-FFF2-40B4-BE49-F238E27FC236}">
                <a16:creationId xmlns="" xmlns:a16="http://schemas.microsoft.com/office/drawing/2014/main" id="{D95344A5-905C-3A4B-9D18-E2DFCFFA65F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234325" y="949532"/>
            <a:ext cx="2464647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Textmasterformat bearbeiten</a:t>
            </a:r>
          </a:p>
        </p:txBody>
      </p:sp>
      <p:sp>
        <p:nvSpPr>
          <p:cNvPr id="33" name="Textplatzhalter 41">
            <a:extLst>
              <a:ext uri="{FF2B5EF4-FFF2-40B4-BE49-F238E27FC236}">
                <a16:creationId xmlns="" xmlns:a16="http://schemas.microsoft.com/office/drawing/2014/main" id="{A612BE07-BF0F-AF40-AB82-C324E81F44D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4001" y="3016190"/>
            <a:ext cx="4000326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34" name="Textplatzhalter 46">
            <a:extLst>
              <a:ext uri="{FF2B5EF4-FFF2-40B4-BE49-F238E27FC236}">
                <a16:creationId xmlns="" xmlns:a16="http://schemas.microsoft.com/office/drawing/2014/main" id="{341DF4E6-9F90-4043-831F-9895DFAAF8A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4000" y="3267835"/>
            <a:ext cx="4000326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Textmasterformat bearbeiten</a:t>
            </a:r>
          </a:p>
        </p:txBody>
      </p:sp>
      <p:sp>
        <p:nvSpPr>
          <p:cNvPr id="35" name="Textplatzhalter 41">
            <a:extLst>
              <a:ext uri="{FF2B5EF4-FFF2-40B4-BE49-F238E27FC236}">
                <a16:creationId xmlns="" xmlns:a16="http://schemas.microsoft.com/office/drawing/2014/main" id="{74063FEC-123E-0143-ACF6-201BF1039C2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34327" y="3016190"/>
            <a:ext cx="2464647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</a:t>
            </a:r>
          </a:p>
        </p:txBody>
      </p:sp>
      <p:sp>
        <p:nvSpPr>
          <p:cNvPr id="36" name="Textplatzhalter 46">
            <a:extLst>
              <a:ext uri="{FF2B5EF4-FFF2-40B4-BE49-F238E27FC236}">
                <a16:creationId xmlns="" xmlns:a16="http://schemas.microsoft.com/office/drawing/2014/main" id="{619260E3-1648-8C45-AD55-B42BDA6F9AA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234325" y="3267835"/>
            <a:ext cx="2464647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Textmasterformat bearbeiten</a:t>
            </a:r>
          </a:p>
        </p:txBody>
      </p:sp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84404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abelle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2">
            <a:extLst>
              <a:ext uri="{FF2B5EF4-FFF2-40B4-BE49-F238E27FC236}">
                <a16:creationId xmlns="" xmlns:a16="http://schemas.microsoft.com/office/drawing/2014/main" id="{ABDBC1C1-45EC-EA45-A0DF-91D0DBE4388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34001" y="844601"/>
            <a:ext cx="3746581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="" xmlns:a16="http://schemas.microsoft.com/office/drawing/2014/main" id="{8821930C-43CC-8A44-8B0E-1684FD1CF9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53109" y="657234"/>
            <a:ext cx="9720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="" xmlns:a16="http://schemas.microsoft.com/office/drawing/2014/main" id="{1EF6939E-4C9D-2948-BE1E-B47B0A020E4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14801" y="657234"/>
            <a:ext cx="9720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="" xmlns:a16="http://schemas.microsoft.com/office/drawing/2014/main" id="{9E39D914-F7C0-F94C-A3DB-7D3F6BB9AB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71959" y="657234"/>
            <a:ext cx="9720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="" xmlns:a16="http://schemas.microsoft.com/office/drawing/2014/main" id="{A2195BD5-5EE7-B649-A11F-43406C2A0EB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153109" y="1082701"/>
            <a:ext cx="972000" cy="80021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6" name="Textplatzhalter 4">
            <a:extLst>
              <a:ext uri="{FF2B5EF4-FFF2-40B4-BE49-F238E27FC236}">
                <a16:creationId xmlns="" xmlns:a16="http://schemas.microsoft.com/office/drawing/2014/main" id="{8BEE4029-55CA-224A-80C7-F2013768274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314801" y="1082701"/>
            <a:ext cx="972000" cy="80021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7" name="Textplatzhalter 4">
            <a:extLst>
              <a:ext uri="{FF2B5EF4-FFF2-40B4-BE49-F238E27FC236}">
                <a16:creationId xmlns="" xmlns:a16="http://schemas.microsoft.com/office/drawing/2014/main" id="{CC61BB28-8322-234E-A0E5-AE63A9CC11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471958" y="1082701"/>
            <a:ext cx="972000" cy="80021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29" name="Gerade Verbindung 28">
            <a:extLst>
              <a:ext uri="{FF2B5EF4-FFF2-40B4-BE49-F238E27FC236}">
                <a16:creationId xmlns="" xmlns:a16="http://schemas.microsoft.com/office/drawing/2014/main" id="{963BBE3D-2917-134F-85EA-31D8A020ADBA}"/>
              </a:ext>
            </a:extLst>
          </p:cNvPr>
          <p:cNvCxnSpPr>
            <a:cxnSpLocks/>
          </p:cNvCxnSpPr>
          <p:nvPr userDrawn="1"/>
        </p:nvCxnSpPr>
        <p:spPr>
          <a:xfrm>
            <a:off x="4077838" y="667650"/>
            <a:ext cx="0" cy="38259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>
            <a:extLst>
              <a:ext uri="{FF2B5EF4-FFF2-40B4-BE49-F238E27FC236}">
                <a16:creationId xmlns="" xmlns:a16="http://schemas.microsoft.com/office/drawing/2014/main" id="{9DCB0DC2-8F10-AA44-B217-84A1A87F8D75}"/>
              </a:ext>
            </a:extLst>
          </p:cNvPr>
          <p:cNvCxnSpPr>
            <a:cxnSpLocks/>
          </p:cNvCxnSpPr>
          <p:nvPr userDrawn="1"/>
        </p:nvCxnSpPr>
        <p:spPr>
          <a:xfrm>
            <a:off x="5217835" y="667650"/>
            <a:ext cx="0" cy="38259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hteck 32">
            <a:extLst>
              <a:ext uri="{FF2B5EF4-FFF2-40B4-BE49-F238E27FC236}">
                <a16:creationId xmlns="" xmlns:a16="http://schemas.microsoft.com/office/drawing/2014/main" id="{51813C27-D7C3-A747-82AC-539DC170DD9B}"/>
              </a:ext>
            </a:extLst>
          </p:cNvPr>
          <p:cNvSpPr/>
          <p:nvPr userDrawn="1"/>
        </p:nvSpPr>
        <p:spPr>
          <a:xfrm>
            <a:off x="6385396" y="667650"/>
            <a:ext cx="1144800" cy="38259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de-DE" sz="1400"/>
          </a:p>
        </p:txBody>
      </p:sp>
      <p:sp>
        <p:nvSpPr>
          <p:cNvPr id="6" name="Titel 5">
            <a:extLst>
              <a:ext uri="{FF2B5EF4-FFF2-40B4-BE49-F238E27FC236}">
                <a16:creationId xmlns="" xmlns:a16="http://schemas.microsoft.com/office/drawing/2014/main" id="{5F51E064-505C-5C41-9875-BF2A95F876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="" xmlns:a16="http://schemas.microsoft.com/office/drawing/2014/main" id="{DB0714E8-273B-834B-A349-EB82F282E409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E2FC5787-D3CC-4D24-A6E3-B654BBD1545E}" type="datetime1">
              <a:rPr lang="de-DE" smtClean="0"/>
              <a:t>23.08.2021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="" xmlns:a16="http://schemas.microsoft.com/office/drawing/2014/main" id="{B5D201FA-99CA-064A-BB31-752DB913EADC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6976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abelle 4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platzhalter 2">
            <a:extLst>
              <a:ext uri="{FF2B5EF4-FFF2-40B4-BE49-F238E27FC236}">
                <a16:creationId xmlns="" xmlns:a16="http://schemas.microsoft.com/office/drawing/2014/main" id="{BDBD7744-0BA1-A241-9516-9A949817F09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34001" y="844601"/>
            <a:ext cx="3746581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1" name="Textplatzhalter 4">
            <a:extLst>
              <a:ext uri="{FF2B5EF4-FFF2-40B4-BE49-F238E27FC236}">
                <a16:creationId xmlns="" xmlns:a16="http://schemas.microsoft.com/office/drawing/2014/main" id="{5CE355D7-C98F-0444-B4F5-1BD2ADB84AE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53109" y="657234"/>
            <a:ext cx="9720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2" name="Textplatzhalter 4">
            <a:extLst>
              <a:ext uri="{FF2B5EF4-FFF2-40B4-BE49-F238E27FC236}">
                <a16:creationId xmlns="" xmlns:a16="http://schemas.microsoft.com/office/drawing/2014/main" id="{D1B0A502-31CF-424E-B34E-B5F45FFB4F7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14801" y="657234"/>
            <a:ext cx="9720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3" name="Textplatzhalter 4">
            <a:extLst>
              <a:ext uri="{FF2B5EF4-FFF2-40B4-BE49-F238E27FC236}">
                <a16:creationId xmlns="" xmlns:a16="http://schemas.microsoft.com/office/drawing/2014/main" id="{CB31FB19-3D8D-7240-AB89-DD90E4CD070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71959" y="657234"/>
            <a:ext cx="9720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4" name="Textplatzhalter 4">
            <a:extLst>
              <a:ext uri="{FF2B5EF4-FFF2-40B4-BE49-F238E27FC236}">
                <a16:creationId xmlns="" xmlns:a16="http://schemas.microsoft.com/office/drawing/2014/main" id="{E32D786E-E8E1-BF44-A744-5ECBF0BD435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16434" y="657234"/>
            <a:ext cx="9720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5" name="Textplatzhalter 4">
            <a:extLst>
              <a:ext uri="{FF2B5EF4-FFF2-40B4-BE49-F238E27FC236}">
                <a16:creationId xmlns="" xmlns:a16="http://schemas.microsoft.com/office/drawing/2014/main" id="{E00B0F9C-41D8-214F-8B71-B2A32C8B239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153109" y="1082701"/>
            <a:ext cx="972000" cy="80021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6" name="Textplatzhalter 4">
            <a:extLst>
              <a:ext uri="{FF2B5EF4-FFF2-40B4-BE49-F238E27FC236}">
                <a16:creationId xmlns="" xmlns:a16="http://schemas.microsoft.com/office/drawing/2014/main" id="{4B15A24A-C794-EE44-A997-8D4311BF0E1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314801" y="1082701"/>
            <a:ext cx="972000" cy="80021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7" name="Textplatzhalter 4">
            <a:extLst>
              <a:ext uri="{FF2B5EF4-FFF2-40B4-BE49-F238E27FC236}">
                <a16:creationId xmlns="" xmlns:a16="http://schemas.microsoft.com/office/drawing/2014/main" id="{47CB4349-A7A0-4243-8BB7-5886799D3D1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471958" y="1082701"/>
            <a:ext cx="972000" cy="80021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8" name="Textplatzhalter 4">
            <a:extLst>
              <a:ext uri="{FF2B5EF4-FFF2-40B4-BE49-F238E27FC236}">
                <a16:creationId xmlns="" xmlns:a16="http://schemas.microsoft.com/office/drawing/2014/main" id="{5B3D3A9C-C9B8-F243-A394-22DD415E5E1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616434" y="1082701"/>
            <a:ext cx="972000" cy="80021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49" name="Gerade Verbindung 48">
            <a:extLst>
              <a:ext uri="{FF2B5EF4-FFF2-40B4-BE49-F238E27FC236}">
                <a16:creationId xmlns="" xmlns:a16="http://schemas.microsoft.com/office/drawing/2014/main" id="{D0C05AB7-B83D-FF4F-8385-5E916E6543AA}"/>
              </a:ext>
            </a:extLst>
          </p:cNvPr>
          <p:cNvCxnSpPr>
            <a:cxnSpLocks/>
          </p:cNvCxnSpPr>
          <p:nvPr userDrawn="1"/>
        </p:nvCxnSpPr>
        <p:spPr>
          <a:xfrm>
            <a:off x="4077838" y="667652"/>
            <a:ext cx="0" cy="35709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49">
            <a:extLst>
              <a:ext uri="{FF2B5EF4-FFF2-40B4-BE49-F238E27FC236}">
                <a16:creationId xmlns="" xmlns:a16="http://schemas.microsoft.com/office/drawing/2014/main" id="{0D5C5DF9-E87A-4743-AE43-3CB5E49A9AF1}"/>
              </a:ext>
            </a:extLst>
          </p:cNvPr>
          <p:cNvCxnSpPr>
            <a:cxnSpLocks/>
          </p:cNvCxnSpPr>
          <p:nvPr userDrawn="1"/>
        </p:nvCxnSpPr>
        <p:spPr>
          <a:xfrm>
            <a:off x="5217835" y="667652"/>
            <a:ext cx="0" cy="35709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>
            <a:extLst>
              <a:ext uri="{FF2B5EF4-FFF2-40B4-BE49-F238E27FC236}">
                <a16:creationId xmlns="" xmlns:a16="http://schemas.microsoft.com/office/drawing/2014/main" id="{6C42193E-BE06-9444-8657-ACBCFAC6602C}"/>
              </a:ext>
            </a:extLst>
          </p:cNvPr>
          <p:cNvCxnSpPr>
            <a:cxnSpLocks/>
          </p:cNvCxnSpPr>
          <p:nvPr userDrawn="1"/>
        </p:nvCxnSpPr>
        <p:spPr>
          <a:xfrm>
            <a:off x="6387693" y="667652"/>
            <a:ext cx="0" cy="35709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hteck 51">
            <a:extLst>
              <a:ext uri="{FF2B5EF4-FFF2-40B4-BE49-F238E27FC236}">
                <a16:creationId xmlns="" xmlns:a16="http://schemas.microsoft.com/office/drawing/2014/main" id="{5830EC9D-B23A-354A-A125-C96275519602}"/>
              </a:ext>
            </a:extLst>
          </p:cNvPr>
          <p:cNvSpPr/>
          <p:nvPr userDrawn="1"/>
        </p:nvSpPr>
        <p:spPr>
          <a:xfrm>
            <a:off x="7542000" y="667652"/>
            <a:ext cx="1144800" cy="357097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de-DE" sz="1400"/>
          </a:p>
        </p:txBody>
      </p:sp>
      <p:sp>
        <p:nvSpPr>
          <p:cNvPr id="6" name="Titel 5">
            <a:extLst>
              <a:ext uri="{FF2B5EF4-FFF2-40B4-BE49-F238E27FC236}">
                <a16:creationId xmlns="" xmlns:a16="http://schemas.microsoft.com/office/drawing/2014/main" id="{513009F2-269E-9A49-A7DB-FA7AF60F58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="" xmlns:a16="http://schemas.microsoft.com/office/drawing/2014/main" id="{27EB2A64-1DFE-3E48-87FC-3446F10EEA4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17FE8F99-BF54-414D-A3A4-1FE3CA29B8C5}" type="datetime1">
              <a:rPr lang="de-DE" smtClean="0"/>
              <a:t>23.08.2021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="" xmlns:a16="http://schemas.microsoft.com/office/drawing/2014/main" id="{6AA23D38-7865-3242-A973-4A6C5CEB08B0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891140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abelle 3-spalti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=""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7870" y="2638839"/>
            <a:ext cx="8475174" cy="1883661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=""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=""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6FC3921D-598D-4DEE-9314-C280C5FEF300}" type="datetime1">
              <a:rPr lang="de-DE" smtClean="0"/>
              <a:t>23.08.2021</a:t>
            </a:fld>
            <a:endParaRPr lang="de-DE" dirty="0"/>
          </a:p>
        </p:txBody>
      </p:sp>
      <p:sp>
        <p:nvSpPr>
          <p:cNvPr id="10" name="Textplatzhalter 2">
            <a:extLst>
              <a:ext uri="{FF2B5EF4-FFF2-40B4-BE49-F238E27FC236}">
                <a16:creationId xmlns="" xmlns:a16="http://schemas.microsoft.com/office/drawing/2014/main" id="{859BD2D0-FE99-484C-9512-F61A20DD6D3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4001" y="963433"/>
            <a:ext cx="34236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="" xmlns:a16="http://schemas.microsoft.com/office/drawing/2014/main" id="{2D8AA30D-860F-524D-BD9D-8EEA260FB95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2879" y="657234"/>
            <a:ext cx="1281679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6" name="Textplatzhalter 4">
            <a:extLst>
              <a:ext uri="{FF2B5EF4-FFF2-40B4-BE49-F238E27FC236}">
                <a16:creationId xmlns="" xmlns:a16="http://schemas.microsoft.com/office/drawing/2014/main" id="{8FDBBBAD-E4DB-074E-8202-E882B1A80BF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70435" y="657234"/>
            <a:ext cx="1303374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="" xmlns:a16="http://schemas.microsoft.com/office/drawing/2014/main" id="{A71845CA-8539-7B44-BFEE-7BDD043E29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42382" y="657234"/>
            <a:ext cx="1286146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="" xmlns:a16="http://schemas.microsoft.com/office/drawing/2014/main" id="{09201604-8CCD-2241-AF82-0BD241F71F8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932879" y="963433"/>
            <a:ext cx="1281679" cy="55656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="" xmlns:a16="http://schemas.microsoft.com/office/drawing/2014/main" id="{A09764BC-0587-434E-B5CE-EA21F18F30C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470435" y="963433"/>
            <a:ext cx="1303374" cy="55656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="" xmlns:a16="http://schemas.microsoft.com/office/drawing/2014/main" id="{7573BDEF-DB66-1B45-90C7-F699C97BE29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042380" y="963433"/>
            <a:ext cx="1286146" cy="55656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23" name="Gerade Verbindung 22">
            <a:extLst>
              <a:ext uri="{FF2B5EF4-FFF2-40B4-BE49-F238E27FC236}">
                <a16:creationId xmlns="" xmlns:a16="http://schemas.microsoft.com/office/drawing/2014/main" id="{C5085A8F-2E53-E64E-B011-5911C9011649}"/>
              </a:ext>
            </a:extLst>
          </p:cNvPr>
          <p:cNvCxnSpPr>
            <a:cxnSpLocks/>
          </p:cNvCxnSpPr>
          <p:nvPr userDrawn="1"/>
        </p:nvCxnSpPr>
        <p:spPr>
          <a:xfrm>
            <a:off x="3769726" y="667652"/>
            <a:ext cx="0" cy="190409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>
            <a:extLst>
              <a:ext uri="{FF2B5EF4-FFF2-40B4-BE49-F238E27FC236}">
                <a16:creationId xmlns="" xmlns:a16="http://schemas.microsoft.com/office/drawing/2014/main" id="{7C910D65-1331-9B47-A939-98507AB8ACEB}"/>
              </a:ext>
            </a:extLst>
          </p:cNvPr>
          <p:cNvCxnSpPr>
            <a:cxnSpLocks/>
          </p:cNvCxnSpPr>
          <p:nvPr userDrawn="1"/>
        </p:nvCxnSpPr>
        <p:spPr>
          <a:xfrm>
            <a:off x="5307283" y="667652"/>
            <a:ext cx="0" cy="190409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>
            <a:extLst>
              <a:ext uri="{FF2B5EF4-FFF2-40B4-BE49-F238E27FC236}">
                <a16:creationId xmlns="" xmlns:a16="http://schemas.microsoft.com/office/drawing/2014/main" id="{47F5DF88-232A-0742-8004-5B4EC5BD85BB}"/>
              </a:ext>
            </a:extLst>
          </p:cNvPr>
          <p:cNvCxnSpPr>
            <a:cxnSpLocks/>
          </p:cNvCxnSpPr>
          <p:nvPr userDrawn="1"/>
        </p:nvCxnSpPr>
        <p:spPr>
          <a:xfrm>
            <a:off x="6874701" y="667652"/>
            <a:ext cx="0" cy="190409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169123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abelle 3-spaltig mit 2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liennummernplatzhalter 13">
            <a:extLst>
              <a:ext uri="{FF2B5EF4-FFF2-40B4-BE49-F238E27FC236}">
                <a16:creationId xmlns=""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=""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DEE87DF2-97F1-4A98-89F4-0A565A96BBE4}" type="datetime1">
              <a:rPr lang="de-DE" smtClean="0"/>
              <a:t>23.08.2021</a:t>
            </a:fld>
            <a:endParaRPr lang="de-DE" dirty="0"/>
          </a:p>
        </p:txBody>
      </p:sp>
      <p:sp>
        <p:nvSpPr>
          <p:cNvPr id="18" name="Bildplatzhalter 2">
            <a:extLst>
              <a:ext uri="{FF2B5EF4-FFF2-40B4-BE49-F238E27FC236}">
                <a16:creationId xmlns="" xmlns:a16="http://schemas.microsoft.com/office/drawing/2014/main" id="{9BEBBCD9-8FCB-E046-A246-EC32BE77CFC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7871" y="2661975"/>
            <a:ext cx="4084982" cy="1860526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2" name="Bildplatzhalter 2">
            <a:extLst>
              <a:ext uri="{FF2B5EF4-FFF2-40B4-BE49-F238E27FC236}">
                <a16:creationId xmlns="" xmlns:a16="http://schemas.microsoft.com/office/drawing/2014/main" id="{92D35EB1-27E8-DC49-B6C8-61A109F8BB6C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735018" y="2661975"/>
            <a:ext cx="4084982" cy="1860526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36" name="Textplatzhalter 2">
            <a:extLst>
              <a:ext uri="{FF2B5EF4-FFF2-40B4-BE49-F238E27FC236}">
                <a16:creationId xmlns="" xmlns:a16="http://schemas.microsoft.com/office/drawing/2014/main" id="{15D22172-3F21-D640-95B1-6800E108254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4001" y="963433"/>
            <a:ext cx="34236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7" name="Textplatzhalter 4">
            <a:extLst>
              <a:ext uri="{FF2B5EF4-FFF2-40B4-BE49-F238E27FC236}">
                <a16:creationId xmlns="" xmlns:a16="http://schemas.microsoft.com/office/drawing/2014/main" id="{97664D98-4E6B-E04B-99A0-DF069CBECAB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2879" y="657234"/>
            <a:ext cx="1281679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38" name="Textplatzhalter 4">
            <a:extLst>
              <a:ext uri="{FF2B5EF4-FFF2-40B4-BE49-F238E27FC236}">
                <a16:creationId xmlns="" xmlns:a16="http://schemas.microsoft.com/office/drawing/2014/main" id="{B0CF7D24-408C-4C44-A843-C25F719BE9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70435" y="657234"/>
            <a:ext cx="1303374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39" name="Textplatzhalter 4">
            <a:extLst>
              <a:ext uri="{FF2B5EF4-FFF2-40B4-BE49-F238E27FC236}">
                <a16:creationId xmlns="" xmlns:a16="http://schemas.microsoft.com/office/drawing/2014/main" id="{FC920A69-EEA3-7741-B8AE-8AF321A1978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42382" y="657234"/>
            <a:ext cx="1286146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0" name="Textplatzhalter 4">
            <a:extLst>
              <a:ext uri="{FF2B5EF4-FFF2-40B4-BE49-F238E27FC236}">
                <a16:creationId xmlns="" xmlns:a16="http://schemas.microsoft.com/office/drawing/2014/main" id="{6498FB1A-6271-724D-B340-1C3F7AF45E3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932879" y="963433"/>
            <a:ext cx="1281679" cy="55656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1" name="Textplatzhalter 4">
            <a:extLst>
              <a:ext uri="{FF2B5EF4-FFF2-40B4-BE49-F238E27FC236}">
                <a16:creationId xmlns="" xmlns:a16="http://schemas.microsoft.com/office/drawing/2014/main" id="{6A7C5161-DD30-3D47-9A2F-BE63CCE025E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470435" y="963433"/>
            <a:ext cx="1303374" cy="55656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2" name="Textplatzhalter 4">
            <a:extLst>
              <a:ext uri="{FF2B5EF4-FFF2-40B4-BE49-F238E27FC236}">
                <a16:creationId xmlns="" xmlns:a16="http://schemas.microsoft.com/office/drawing/2014/main" id="{66874484-A4A6-5541-A959-16D608F5B16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042380" y="963433"/>
            <a:ext cx="1286146" cy="55656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43" name="Gerade Verbindung 42">
            <a:extLst>
              <a:ext uri="{FF2B5EF4-FFF2-40B4-BE49-F238E27FC236}">
                <a16:creationId xmlns="" xmlns:a16="http://schemas.microsoft.com/office/drawing/2014/main" id="{57D06E09-8B95-E94D-B86E-1B1D20E424BD}"/>
              </a:ext>
            </a:extLst>
          </p:cNvPr>
          <p:cNvCxnSpPr>
            <a:cxnSpLocks/>
          </p:cNvCxnSpPr>
          <p:nvPr userDrawn="1"/>
        </p:nvCxnSpPr>
        <p:spPr>
          <a:xfrm>
            <a:off x="3769726" y="667652"/>
            <a:ext cx="0" cy="190409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43">
            <a:extLst>
              <a:ext uri="{FF2B5EF4-FFF2-40B4-BE49-F238E27FC236}">
                <a16:creationId xmlns="" xmlns:a16="http://schemas.microsoft.com/office/drawing/2014/main" id="{0BA941EE-4736-0749-A894-E3E7F38C9982}"/>
              </a:ext>
            </a:extLst>
          </p:cNvPr>
          <p:cNvCxnSpPr>
            <a:cxnSpLocks/>
          </p:cNvCxnSpPr>
          <p:nvPr userDrawn="1"/>
        </p:nvCxnSpPr>
        <p:spPr>
          <a:xfrm>
            <a:off x="5307283" y="667652"/>
            <a:ext cx="0" cy="190409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>
            <a:extLst>
              <a:ext uri="{FF2B5EF4-FFF2-40B4-BE49-F238E27FC236}">
                <a16:creationId xmlns="" xmlns:a16="http://schemas.microsoft.com/office/drawing/2014/main" id="{D98BF498-A115-F241-9130-265ECDD209CE}"/>
              </a:ext>
            </a:extLst>
          </p:cNvPr>
          <p:cNvCxnSpPr>
            <a:cxnSpLocks/>
          </p:cNvCxnSpPr>
          <p:nvPr userDrawn="1"/>
        </p:nvCxnSpPr>
        <p:spPr>
          <a:xfrm>
            <a:off x="6874701" y="667652"/>
            <a:ext cx="0" cy="190409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548862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7">
            <a:extLst>
              <a:ext uri="{FF2B5EF4-FFF2-40B4-BE49-F238E27FC236}">
                <a16:creationId xmlns="" xmlns:a16="http://schemas.microsoft.com/office/drawing/2014/main" id="{31BAA764-3F5F-444C-8161-F87A472F813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33364" y="697888"/>
            <a:ext cx="8586787" cy="3788569"/>
          </a:xfrm>
          <a:prstGeom prst="rect">
            <a:avLst/>
          </a:prstGeom>
        </p:spPr>
        <p:txBody>
          <a:bodyPr lIns="68580" tIns="34290" rIns="68580" bIns="34290"/>
          <a:lstStyle>
            <a:lvl1pPr marL="171450" indent="-171450">
              <a:buFont typeface="Wingdings" pitchFamily="2" charset="2"/>
              <a:buChar char="§"/>
              <a:defRPr sz="1200"/>
            </a:lvl1pPr>
            <a:lvl2pPr marL="514350" indent="-171450">
              <a:buFont typeface="Wingdings" pitchFamily="2" charset="2"/>
              <a:buChar char="§"/>
              <a:defRPr sz="1200"/>
            </a:lvl2pPr>
            <a:lvl3pPr marL="857250" indent="-171450">
              <a:buFont typeface="Wingdings" pitchFamily="2" charset="2"/>
              <a:buChar char="§"/>
              <a:defRPr sz="1200"/>
            </a:lvl3pPr>
            <a:lvl4pPr marL="1200150" indent="-171450">
              <a:buFont typeface="Wingdings" pitchFamily="2" charset="2"/>
              <a:buChar char="§"/>
              <a:defRPr sz="1200"/>
            </a:lvl4pPr>
            <a:lvl5pPr marL="1543050" indent="-17145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2" name="Titel 11">
            <a:extLst>
              <a:ext uri="{FF2B5EF4-FFF2-40B4-BE49-F238E27FC236}">
                <a16:creationId xmlns="" xmlns:a16="http://schemas.microsoft.com/office/drawing/2014/main" id="{C6572A00-3C63-D74B-A284-800CCB83D7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3" name="Foliennummernplatzhalter 13">
            <a:extLst>
              <a:ext uri="{FF2B5EF4-FFF2-40B4-BE49-F238E27FC236}">
                <a16:creationId xmlns=""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220122" y="4822200"/>
            <a:ext cx="520213" cy="218844"/>
          </a:xfrm>
        </p:spPr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Datumsplatzhalter 1">
            <a:extLst>
              <a:ext uri="{FF2B5EF4-FFF2-40B4-BE49-F238E27FC236}">
                <a16:creationId xmlns=""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3569277" y="4821436"/>
            <a:ext cx="716973" cy="218828"/>
          </a:xfrm>
        </p:spPr>
        <p:txBody>
          <a:bodyPr/>
          <a:lstStyle/>
          <a:p>
            <a:fld id="{1247FDAF-1059-452B-A4FA-AC0A95C3AC7E}" type="datetime1">
              <a:rPr lang="de-DE" smtClean="0"/>
              <a:t>23.08.2021</a:t>
            </a:fld>
            <a:endParaRPr lang="de-DE" dirty="0"/>
          </a:p>
        </p:txBody>
      </p:sp>
      <p:sp>
        <p:nvSpPr>
          <p:cNvPr id="1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733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Zwei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7">
            <a:extLst>
              <a:ext uri="{FF2B5EF4-FFF2-40B4-BE49-F238E27FC236}">
                <a16:creationId xmlns="" xmlns:a16="http://schemas.microsoft.com/office/drawing/2014/main" id="{D8752806-FF89-924C-A315-2CF512EFE36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33363" y="697888"/>
            <a:ext cx="4203555" cy="3788569"/>
          </a:xfrm>
          <a:prstGeom prst="rect">
            <a:avLst/>
          </a:prstGeom>
        </p:spPr>
        <p:txBody>
          <a:bodyPr lIns="68580" tIns="34290" rIns="68580" bIns="34290"/>
          <a:lstStyle>
            <a:lvl1pPr marL="171450" indent="-171450">
              <a:buFont typeface="Wingdings" pitchFamily="2" charset="2"/>
              <a:buChar char="§"/>
              <a:defRPr sz="1200"/>
            </a:lvl1pPr>
            <a:lvl2pPr marL="514350" indent="-171450">
              <a:buFont typeface="Wingdings" pitchFamily="2" charset="2"/>
              <a:buChar char="§"/>
              <a:defRPr sz="1200"/>
            </a:lvl2pPr>
            <a:lvl3pPr marL="857250" indent="-171450">
              <a:buFont typeface="Wingdings" pitchFamily="2" charset="2"/>
              <a:buChar char="§"/>
              <a:defRPr sz="1200"/>
            </a:lvl3pPr>
            <a:lvl4pPr marL="1200150" indent="-171450">
              <a:buFont typeface="Wingdings" pitchFamily="2" charset="2"/>
              <a:buChar char="§"/>
              <a:defRPr sz="1200"/>
            </a:lvl4pPr>
            <a:lvl5pPr marL="1543050" indent="-17145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Inhaltsplatzhalter 7">
            <a:extLst>
              <a:ext uri="{FF2B5EF4-FFF2-40B4-BE49-F238E27FC236}">
                <a16:creationId xmlns="" xmlns:a16="http://schemas.microsoft.com/office/drawing/2014/main" id="{1AA8E9C8-7245-5C4A-BBFA-74F3AE490F92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16446" y="699585"/>
            <a:ext cx="4203555" cy="3788569"/>
          </a:xfrm>
          <a:prstGeom prst="rect">
            <a:avLst/>
          </a:prstGeom>
        </p:spPr>
        <p:txBody>
          <a:bodyPr lIns="68580" tIns="34290" rIns="68580" bIns="34290"/>
          <a:lstStyle>
            <a:lvl1pPr marL="171450" indent="-171450">
              <a:buFont typeface="Wingdings" pitchFamily="2" charset="2"/>
              <a:buChar char="§"/>
              <a:defRPr sz="1200"/>
            </a:lvl1pPr>
            <a:lvl2pPr marL="514350" indent="-171450">
              <a:buFont typeface="Wingdings" pitchFamily="2" charset="2"/>
              <a:buChar char="§"/>
              <a:defRPr sz="1200"/>
            </a:lvl2pPr>
            <a:lvl3pPr marL="857250" indent="-171450">
              <a:buFont typeface="Wingdings" pitchFamily="2" charset="2"/>
              <a:buChar char="§"/>
              <a:defRPr sz="1200"/>
            </a:lvl3pPr>
            <a:lvl4pPr marL="1200150" indent="-171450">
              <a:buFont typeface="Wingdings" pitchFamily="2" charset="2"/>
              <a:buChar char="§"/>
              <a:defRPr sz="1200"/>
            </a:lvl4pPr>
            <a:lvl5pPr marL="1543050" indent="-17145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="" xmlns:a16="http://schemas.microsoft.com/office/drawing/2014/main" id="{CBB13D4F-F7F7-AE4C-94F6-0EB807A560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="" xmlns:a16="http://schemas.microsoft.com/office/drawing/2014/main" id="{3172EAEB-F451-F64F-AC4A-322458B8156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2DB813F1-33A0-4D4E-87AF-EB69B557B9DE}" type="datetime1">
              <a:rPr lang="de-DE" smtClean="0"/>
              <a:t>23.08.2021</a:t>
            </a:fld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="" xmlns:a16="http://schemas.microsoft.com/office/drawing/2014/main" id="{5D6303A5-7D1B-DD44-AB88-C7C004758E6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475933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Zwei Inhalt mit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7">
            <a:extLst>
              <a:ext uri="{FF2B5EF4-FFF2-40B4-BE49-F238E27FC236}">
                <a16:creationId xmlns="" xmlns:a16="http://schemas.microsoft.com/office/drawing/2014/main" id="{D8752806-FF89-924C-A315-2CF512EFE36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33365" y="1067668"/>
            <a:ext cx="4161992" cy="3418790"/>
          </a:xfrm>
          <a:prstGeom prst="rect">
            <a:avLst/>
          </a:prstGeom>
        </p:spPr>
        <p:txBody>
          <a:bodyPr lIns="68580" tIns="34290" rIns="68580" bIns="34290"/>
          <a:lstStyle>
            <a:lvl1pPr marL="171450" indent="-171450">
              <a:buFont typeface="Wingdings" pitchFamily="2" charset="2"/>
              <a:buChar char="§"/>
              <a:defRPr sz="1200"/>
            </a:lvl1pPr>
            <a:lvl2pPr marL="514350" indent="-171450">
              <a:buFont typeface="Wingdings" pitchFamily="2" charset="2"/>
              <a:buChar char="§"/>
              <a:defRPr sz="1200"/>
            </a:lvl2pPr>
            <a:lvl3pPr marL="857250" indent="-171450">
              <a:buFont typeface="Wingdings" pitchFamily="2" charset="2"/>
              <a:buChar char="§"/>
              <a:defRPr sz="1200"/>
            </a:lvl3pPr>
            <a:lvl4pPr marL="1200150" indent="-171450">
              <a:buFont typeface="Wingdings" pitchFamily="2" charset="2"/>
              <a:buChar char="§"/>
              <a:defRPr sz="1200"/>
            </a:lvl4pPr>
            <a:lvl5pPr marL="1543050" indent="-17145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Inhaltsplatzhalter 7">
            <a:extLst>
              <a:ext uri="{FF2B5EF4-FFF2-40B4-BE49-F238E27FC236}">
                <a16:creationId xmlns="" xmlns:a16="http://schemas.microsoft.com/office/drawing/2014/main" id="{1AA8E9C8-7245-5C4A-BBFA-74F3AE490F92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16446" y="1069364"/>
            <a:ext cx="4161992" cy="3418790"/>
          </a:xfrm>
          <a:prstGeom prst="rect">
            <a:avLst/>
          </a:prstGeom>
        </p:spPr>
        <p:txBody>
          <a:bodyPr lIns="68580" tIns="34290" rIns="68580" bIns="34290"/>
          <a:lstStyle>
            <a:lvl1pPr marL="171450" indent="-171450">
              <a:buFont typeface="Wingdings" pitchFamily="2" charset="2"/>
              <a:buChar char="§"/>
              <a:defRPr sz="1200"/>
            </a:lvl1pPr>
            <a:lvl2pPr marL="514350" indent="-171450">
              <a:buFont typeface="Wingdings" pitchFamily="2" charset="2"/>
              <a:buChar char="§"/>
              <a:defRPr sz="1200"/>
            </a:lvl2pPr>
            <a:lvl3pPr marL="857250" indent="-171450">
              <a:buFont typeface="Wingdings" pitchFamily="2" charset="2"/>
              <a:buChar char="§"/>
              <a:defRPr sz="1200"/>
            </a:lvl3pPr>
            <a:lvl4pPr marL="1200150" indent="-171450">
              <a:buFont typeface="Wingdings" pitchFamily="2" charset="2"/>
              <a:buChar char="§"/>
              <a:defRPr sz="1200"/>
            </a:lvl4pPr>
            <a:lvl5pPr marL="1543050" indent="-17145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Textplatzhalter 41">
            <a:extLst>
              <a:ext uri="{FF2B5EF4-FFF2-40B4-BE49-F238E27FC236}">
                <a16:creationId xmlns="" xmlns:a16="http://schemas.microsoft.com/office/drawing/2014/main" id="{C6D85155-18EA-7341-9BEC-D904CF6BA47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3365" y="697888"/>
            <a:ext cx="4161992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Zwischenheadline in Arial </a:t>
            </a:r>
            <a:r>
              <a:rPr lang="de-DE" dirty="0" err="1"/>
              <a:t>Bold</a:t>
            </a:r>
            <a:endParaRPr lang="de-DE" dirty="0"/>
          </a:p>
        </p:txBody>
      </p:sp>
      <p:sp>
        <p:nvSpPr>
          <p:cNvPr id="8" name="Textplatzhalter 41">
            <a:extLst>
              <a:ext uri="{FF2B5EF4-FFF2-40B4-BE49-F238E27FC236}">
                <a16:creationId xmlns="" xmlns:a16="http://schemas.microsoft.com/office/drawing/2014/main" id="{B197DF9F-CEB1-0044-93CC-79BD6E3399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16446" y="697888"/>
            <a:ext cx="4161992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Zwischenheadline in Arial </a:t>
            </a:r>
            <a:r>
              <a:rPr lang="de-DE" dirty="0" err="1"/>
              <a:t>Bold</a:t>
            </a:r>
            <a:endParaRPr lang="de-DE" dirty="0"/>
          </a:p>
        </p:txBody>
      </p:sp>
      <p:sp>
        <p:nvSpPr>
          <p:cNvPr id="11" name="Titel 10">
            <a:extLst>
              <a:ext uri="{FF2B5EF4-FFF2-40B4-BE49-F238E27FC236}">
                <a16:creationId xmlns="" xmlns:a16="http://schemas.microsoft.com/office/drawing/2014/main" id="{F0CB323F-AA59-554D-9DAE-122B6DE5DC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="" xmlns:a16="http://schemas.microsoft.com/office/drawing/2014/main" id="{013E9E7D-70C7-F74F-B14D-F8A710D3962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9396A89-394F-4BFD-A33E-ED7AC701A9EA}" type="datetime1">
              <a:rPr lang="de-DE" smtClean="0"/>
              <a:t>23.08.2021</a:t>
            </a:fld>
            <a:endParaRPr lang="de-DE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="" xmlns:a16="http://schemas.microsoft.com/office/drawing/2014/main" id="{058ECAB0-3A66-A04E-B5D2-7DF5E51B4AA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28972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5">
            <a:extLst>
              <a:ext uri="{FF2B5EF4-FFF2-40B4-BE49-F238E27FC236}">
                <a16:creationId xmlns="" xmlns:a16="http://schemas.microsoft.com/office/drawing/2014/main" id="{A61B82BF-CF04-5842-AA0B-75B999CBC56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33364" y="694135"/>
            <a:ext cx="8586787" cy="3794522"/>
          </a:xfrm>
          <a:prstGeom prst="rect">
            <a:avLst/>
          </a:prstGeom>
        </p:spPr>
        <p:txBody>
          <a:bodyPr lIns="68580" tIns="34290" rIns="68580" bIns="34290"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10" name="Titel 9">
            <a:extLst>
              <a:ext uri="{FF2B5EF4-FFF2-40B4-BE49-F238E27FC236}">
                <a16:creationId xmlns="" xmlns:a16="http://schemas.microsoft.com/office/drawing/2014/main" id="{1DE9450B-CEFA-784B-A0D8-6B928111FD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A37F337C-7AEC-2D47-88CF-1503680FF5E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507815C9-6D4B-42D1-9120-5557FAD46A0C}" type="datetime1">
              <a:rPr lang="de-DE" smtClean="0"/>
              <a:t>23.08.2021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="" xmlns:a16="http://schemas.microsoft.com/office/drawing/2014/main" id="{938DDBE5-A816-4245-92AE-5F10BEAC8CD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115632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links mit Headline und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41">
            <a:extLst>
              <a:ext uri="{FF2B5EF4-FFF2-40B4-BE49-F238E27FC236}">
                <a16:creationId xmlns="" xmlns:a16="http://schemas.microsoft.com/office/drawing/2014/main" id="{CDE5885E-6B51-F943-99AE-CF33A792FA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8"/>
            <a:ext cx="4338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9" name="Textplatzhalter 46">
            <a:extLst>
              <a:ext uri="{FF2B5EF4-FFF2-40B4-BE49-F238E27FC236}">
                <a16:creationId xmlns="" xmlns:a16="http://schemas.microsoft.com/office/drawing/2014/main" id="{131F7372-4929-734F-935A-5001E1EFF6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1107001"/>
            <a:ext cx="4338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Textmasterformat bearbeiten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=""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83044" y="756000"/>
            <a:ext cx="414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=""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=""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82DCE2A8-B364-4B6D-B82B-40BD3869BAE8}" type="datetime1">
              <a:rPr lang="de-DE" smtClean="0"/>
              <a:t>23.08.2021</a:t>
            </a:fld>
            <a:endParaRPr lang="de-DE" dirty="0"/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9653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7D171584-8549-427D-8281-AC5E9F4029DF}" type="datetime1">
              <a:rPr lang="de-DE" smtClean="0"/>
              <a:t>23.08.202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43952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chlussfolie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="" xmlns:a16="http://schemas.microsoft.com/office/drawing/2014/main" id="{C505B9C6-6FEE-7243-AD7E-7BDC168BF1C8}"/>
              </a:ext>
            </a:extLst>
          </p:cNvPr>
          <p:cNvSpPr/>
          <p:nvPr userDrawn="1"/>
        </p:nvSpPr>
        <p:spPr>
          <a:xfrm>
            <a:off x="0" y="13707"/>
            <a:ext cx="9144000" cy="47345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de-DE" sz="1400"/>
          </a:p>
        </p:txBody>
      </p:sp>
      <p:pic>
        <p:nvPicPr>
          <p:cNvPr id="8" name="Grafik 7">
            <a:extLst>
              <a:ext uri="{FF2B5EF4-FFF2-40B4-BE49-F238E27FC236}">
                <a16:creationId xmlns="" xmlns:a16="http://schemas.microsoft.com/office/drawing/2014/main" id="{73997E8E-26A6-2541-9505-434E77245D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9144638" cy="474660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="" xmlns:a16="http://schemas.microsoft.com/office/drawing/2014/main" id="{E8E0409A-B122-CB40-A2F1-E1AFC97AA051}"/>
              </a:ext>
            </a:extLst>
          </p:cNvPr>
          <p:cNvSpPr/>
          <p:nvPr userDrawn="1"/>
        </p:nvSpPr>
        <p:spPr>
          <a:xfrm>
            <a:off x="1489311" y="1653526"/>
            <a:ext cx="6165378" cy="1147970"/>
          </a:xfrm>
          <a:prstGeom prst="rect">
            <a:avLst/>
          </a:prstGeom>
          <a:solidFill>
            <a:srgbClr val="C6C6C6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de-DE" sz="1400"/>
          </a:p>
        </p:txBody>
      </p:sp>
      <p:sp>
        <p:nvSpPr>
          <p:cNvPr id="5" name="Textplatzhalter 41">
            <a:extLst>
              <a:ext uri="{FF2B5EF4-FFF2-40B4-BE49-F238E27FC236}">
                <a16:creationId xmlns="" xmlns:a16="http://schemas.microsoft.com/office/drawing/2014/main" id="{F830CF53-73E9-7C48-BBC8-499D6C33111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86536" y="1892804"/>
            <a:ext cx="5770930" cy="684803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lang="de-DE" sz="2000" smtClean="0">
                <a:effectLst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r>
              <a:rPr lang="de-DE" dirty="0">
                <a:effectLst/>
                <a:latin typeface="Helvetica" pitchFamily="2" charset="0"/>
              </a:rPr>
              <a:t>Vielen Dank </a:t>
            </a:r>
            <a:r>
              <a:rPr lang="de-DE" dirty="0" err="1">
                <a:effectLst/>
                <a:latin typeface="Helvetica" pitchFamily="2" charset="0"/>
              </a:rPr>
              <a:t>für</a:t>
            </a:r>
            <a:endParaRPr lang="de-DE" dirty="0">
              <a:effectLst/>
              <a:latin typeface="Helvetica" pitchFamily="2" charset="0"/>
            </a:endParaRPr>
          </a:p>
          <a:p>
            <a:r>
              <a:rPr lang="de-DE" dirty="0">
                <a:effectLst/>
                <a:latin typeface="Helvetica" pitchFamily="2" charset="0"/>
              </a:rPr>
              <a:t>Ihre Aufmerksamkeit!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="" xmlns:a16="http://schemas.microsoft.com/office/drawing/2014/main" id="{B21E3593-C405-6944-BB64-EFD5B71F937B}"/>
              </a:ext>
            </a:extLst>
          </p:cNvPr>
          <p:cNvSpPr txBox="1"/>
          <p:nvPr userDrawn="1"/>
        </p:nvSpPr>
        <p:spPr>
          <a:xfrm>
            <a:off x="5723793" y="-883627"/>
            <a:ext cx="138564" cy="284693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72607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Schlussfolie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di32691\AppData\Local\Microsoft\Windows\Temporary Internet Files\Content.Outlook\NLLES5G7\Schlussfolie JPK farbe (4)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-1"/>
            <a:ext cx="9144001" cy="4779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platzhalter 41">
            <a:extLst>
              <a:ext uri="{FF2B5EF4-FFF2-40B4-BE49-F238E27FC236}">
                <a16:creationId xmlns="" xmlns:a16="http://schemas.microsoft.com/office/drawing/2014/main" id="{F830CF53-73E9-7C48-BBC8-499D6C33111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70456" y="1085083"/>
            <a:ext cx="5770930" cy="1084913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lang="de-DE" sz="3300" smtClean="0">
                <a:solidFill>
                  <a:schemeClr val="bg1"/>
                </a:solidFill>
                <a:effectLst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r>
              <a:rPr lang="de-DE" dirty="0" smtClean="0">
                <a:effectLst/>
                <a:latin typeface="Helvetica" pitchFamily="2" charset="0"/>
              </a:rPr>
              <a:t>Vielen Dank </a:t>
            </a:r>
            <a:r>
              <a:rPr lang="de-DE" dirty="0" err="1">
                <a:effectLst/>
                <a:latin typeface="Helvetica" pitchFamily="2" charset="0"/>
              </a:rPr>
              <a:t>fü</a:t>
            </a:r>
            <a:r>
              <a:rPr lang="de-DE" dirty="0" err="1" smtClean="0">
                <a:effectLst/>
                <a:latin typeface="Helvetica" pitchFamily="2" charset="0"/>
              </a:rPr>
              <a:t>r</a:t>
            </a:r>
            <a:r>
              <a:rPr lang="de-DE" dirty="0" smtClean="0">
                <a:effectLst/>
                <a:latin typeface="Helvetica" pitchFamily="2" charset="0"/>
              </a:rPr>
              <a:t> Ihre </a:t>
            </a:r>
            <a:r>
              <a:rPr lang="de-DE" dirty="0">
                <a:effectLst/>
                <a:latin typeface="Helvetica" pitchFamily="2" charset="0"/>
              </a:rPr>
              <a:t>Aufmerksamkeit!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="" xmlns:a16="http://schemas.microsoft.com/office/drawing/2014/main" id="{B21E3593-C405-6944-BB64-EFD5B71F937B}"/>
              </a:ext>
            </a:extLst>
          </p:cNvPr>
          <p:cNvSpPr txBox="1"/>
          <p:nvPr userDrawn="1"/>
        </p:nvSpPr>
        <p:spPr>
          <a:xfrm>
            <a:off x="5723793" y="-883627"/>
            <a:ext cx="138564" cy="284693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222934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chlussfolie_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="" xmlns:a16="http://schemas.microsoft.com/office/drawing/2014/main" id="{C505B9C6-6FEE-7243-AD7E-7BDC168BF1C8}"/>
              </a:ext>
            </a:extLst>
          </p:cNvPr>
          <p:cNvSpPr/>
          <p:nvPr userDrawn="1"/>
        </p:nvSpPr>
        <p:spPr>
          <a:xfrm>
            <a:off x="0" y="13707"/>
            <a:ext cx="9144000" cy="37581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de-DE" sz="1400"/>
          </a:p>
        </p:txBody>
      </p:sp>
      <p:sp>
        <p:nvSpPr>
          <p:cNvPr id="5" name="Textplatzhalter 41">
            <a:extLst>
              <a:ext uri="{FF2B5EF4-FFF2-40B4-BE49-F238E27FC236}">
                <a16:creationId xmlns="" xmlns:a16="http://schemas.microsoft.com/office/drawing/2014/main" id="{1996E722-1E54-2440-9E56-46E68CEC5D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86536" y="1892805"/>
            <a:ext cx="5770930" cy="777136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lang="de-DE" sz="2300" smtClean="0">
                <a:effectLst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r>
              <a:rPr lang="de-DE" dirty="0">
                <a:effectLst/>
                <a:latin typeface="Helvetica" pitchFamily="2" charset="0"/>
              </a:rPr>
              <a:t>Vielen Dank </a:t>
            </a:r>
            <a:r>
              <a:rPr lang="de-DE" dirty="0" err="1">
                <a:effectLst/>
                <a:latin typeface="Helvetica" pitchFamily="2" charset="0"/>
              </a:rPr>
              <a:t>für</a:t>
            </a:r>
            <a:endParaRPr lang="de-DE" dirty="0">
              <a:effectLst/>
              <a:latin typeface="Helvetica" pitchFamily="2" charset="0"/>
            </a:endParaRPr>
          </a:p>
          <a:p>
            <a:r>
              <a:rPr lang="de-DE" dirty="0">
                <a:effectLst/>
                <a:latin typeface="Helvetica" pitchFamily="2" charset="0"/>
              </a:rPr>
              <a:t>Ihre 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17053011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links und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=""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83044" y="756000"/>
            <a:ext cx="414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=""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=""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76EC861C-3A26-4872-9641-990BBEB07C8D}" type="datetime1">
              <a:rPr lang="de-DE" smtClean="0"/>
              <a:t>23.08.2021</a:t>
            </a:fld>
            <a:endParaRPr lang="de-DE" dirty="0"/>
          </a:p>
        </p:txBody>
      </p:sp>
      <p:sp>
        <p:nvSpPr>
          <p:cNvPr id="10" name="Textplatzhalter 46">
            <a:extLst>
              <a:ext uri="{FF2B5EF4-FFF2-40B4-BE49-F238E27FC236}">
                <a16:creationId xmlns="" xmlns:a16="http://schemas.microsoft.com/office/drawing/2014/main" id="{F5B8D23F-40DC-4641-9B73-36B1167EEF8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663168"/>
            <a:ext cx="4338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Textmasterformat bearbeiten</a:t>
            </a:r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30586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rechts mit Headline und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=""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3000" y="733612"/>
            <a:ext cx="414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=""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=""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E999999-6EB5-48ED-9AE9-22C113A6BD0A}" type="datetime1">
              <a:rPr lang="de-DE" smtClean="0"/>
              <a:t>23.08.2021</a:t>
            </a:fld>
            <a:endParaRPr lang="de-DE" dirty="0"/>
          </a:p>
        </p:txBody>
      </p:sp>
      <p:sp>
        <p:nvSpPr>
          <p:cNvPr id="16" name="Textplatzhalter 41">
            <a:extLst>
              <a:ext uri="{FF2B5EF4-FFF2-40B4-BE49-F238E27FC236}">
                <a16:creationId xmlns="" xmlns:a16="http://schemas.microsoft.com/office/drawing/2014/main" id="{E312BF74-A897-DD4A-A186-96623098FFD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71004" y="697888"/>
            <a:ext cx="4148997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7" name="Textplatzhalter 46">
            <a:extLst>
              <a:ext uri="{FF2B5EF4-FFF2-40B4-BE49-F238E27FC236}">
                <a16:creationId xmlns="" xmlns:a16="http://schemas.microsoft.com/office/drawing/2014/main" id="{DF4C2467-6510-734D-A856-78639A05BE1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71002" y="1107001"/>
            <a:ext cx="4148997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Textmasterformat bearbeiten</a:t>
            </a:r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42499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rechts und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=""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3000" y="733612"/>
            <a:ext cx="414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=""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=""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0BB70FC-68C5-4D4E-BCBA-6FAB730D8949}" type="datetime1">
              <a:rPr lang="de-DE" smtClean="0"/>
              <a:t>23.08.2021</a:t>
            </a:fld>
            <a:endParaRPr lang="de-DE" dirty="0"/>
          </a:p>
        </p:txBody>
      </p:sp>
      <p:sp>
        <p:nvSpPr>
          <p:cNvPr id="17" name="Textplatzhalter 46">
            <a:extLst>
              <a:ext uri="{FF2B5EF4-FFF2-40B4-BE49-F238E27FC236}">
                <a16:creationId xmlns="" xmlns:a16="http://schemas.microsoft.com/office/drawing/2014/main" id="{272AC951-DB9B-2745-88ED-D7443ECFF73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71003" y="659470"/>
            <a:ext cx="4148998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Textmasterformat bearbeiten</a:t>
            </a:r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71835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rechts mit Headline und 2 Bilder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="" xmlns:a16="http://schemas.microsoft.com/office/drawing/2014/main" id="{0210179F-CD6B-5E47-B231-9937064E83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="" xmlns:a16="http://schemas.microsoft.com/office/drawing/2014/main" id="{E1102512-8A48-F245-A013-DDF98EEB7254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F8AE4F14-8A05-4228-9389-6559A886F105}" type="datetime1">
              <a:rPr lang="de-DE" smtClean="0"/>
              <a:t>23.08.2021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="" xmlns:a16="http://schemas.microsoft.com/office/drawing/2014/main" id="{FE249361-0ED7-504A-8A0A-F6599FA22BC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extplatzhalter 41">
            <a:extLst>
              <a:ext uri="{FF2B5EF4-FFF2-40B4-BE49-F238E27FC236}">
                <a16:creationId xmlns="" xmlns:a16="http://schemas.microsoft.com/office/drawing/2014/main" id="{BF4C4A9B-31B2-6B4D-93F9-91721DC57A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72464" y="697888"/>
            <a:ext cx="4147537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3" name="Textplatzhalter 46">
            <a:extLst>
              <a:ext uri="{FF2B5EF4-FFF2-40B4-BE49-F238E27FC236}">
                <a16:creationId xmlns="" xmlns:a16="http://schemas.microsoft.com/office/drawing/2014/main" id="{59DE3DE6-FF4F-0D48-BFF6-C9144DD86C7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72463" y="1107001"/>
            <a:ext cx="4147537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Textmasterformat bearbeiten</a:t>
            </a:r>
          </a:p>
        </p:txBody>
      </p:sp>
      <p:sp>
        <p:nvSpPr>
          <p:cNvPr id="15" name="Bildplatzhalter 2">
            <a:extLst>
              <a:ext uri="{FF2B5EF4-FFF2-40B4-BE49-F238E27FC236}">
                <a16:creationId xmlns="" xmlns:a16="http://schemas.microsoft.com/office/drawing/2014/main" id="{B648B889-78EE-5142-B5AF-BA4FA5D7ED1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3000" y="733613"/>
            <a:ext cx="4140000" cy="1838138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7" name="Bildplatzhalter 2">
            <a:extLst>
              <a:ext uri="{FF2B5EF4-FFF2-40B4-BE49-F238E27FC236}">
                <a16:creationId xmlns="" xmlns:a16="http://schemas.microsoft.com/office/drawing/2014/main" id="{FBF41EA9-E686-D544-9338-A5BB1999019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33000" y="2709015"/>
            <a:ext cx="4140000" cy="1838138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682398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rechts und 2 Bilder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46">
            <a:extLst>
              <a:ext uri="{FF2B5EF4-FFF2-40B4-BE49-F238E27FC236}">
                <a16:creationId xmlns="" xmlns:a16="http://schemas.microsoft.com/office/drawing/2014/main" id="{8AA97777-B5EE-FE43-9DA0-D9F86D2238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8812" y="664201"/>
            <a:ext cx="4255223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Textmasterformat bearbeiten</a:t>
            </a:r>
          </a:p>
        </p:txBody>
      </p:sp>
      <p:sp>
        <p:nvSpPr>
          <p:cNvPr id="7" name="Titel 30">
            <a:extLst>
              <a:ext uri="{FF2B5EF4-FFF2-40B4-BE49-F238E27FC236}">
                <a16:creationId xmlns="" xmlns:a16="http://schemas.microsoft.com/office/drawing/2014/main" id="{C8BDF212-FBF0-F445-A717-CF7F0F526A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4000" y="97977"/>
            <a:ext cx="8600034" cy="31547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600" b="1" i="0" baseline="0">
                <a:latin typeface="Arial" panose="020B0604020202020204" pitchFamily="34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8CDDBF92-33DD-034E-B9AC-DF00D1DD0A8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EA0FD884-5FA7-4586-98D5-450AD5274F6B}" type="datetime1">
              <a:rPr lang="de-DE" smtClean="0"/>
              <a:t>23.08.2021</a:t>
            </a:fld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="" xmlns:a16="http://schemas.microsoft.com/office/drawing/2014/main" id="{62F8B2C1-AC44-FB45-AFEB-1008D07F144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Bildplatzhalter 2">
            <a:extLst>
              <a:ext uri="{FF2B5EF4-FFF2-40B4-BE49-F238E27FC236}">
                <a16:creationId xmlns="" xmlns:a16="http://schemas.microsoft.com/office/drawing/2014/main" id="{032F96D1-DCEC-C44F-B9A2-69F76279DB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3000" y="733613"/>
            <a:ext cx="4140000" cy="1838138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3" name="Bildplatzhalter 2">
            <a:extLst>
              <a:ext uri="{FF2B5EF4-FFF2-40B4-BE49-F238E27FC236}">
                <a16:creationId xmlns="" xmlns:a16="http://schemas.microsoft.com/office/drawing/2014/main" id="{3E1EF14C-3C71-6642-B806-C000E8E1F91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33000" y="2709015"/>
            <a:ext cx="4140000" cy="1838138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31726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01580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links mit Headline und schmales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=""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0000" y="756000"/>
            <a:ext cx="270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1" name="Textplatzhalter 41">
            <a:extLst>
              <a:ext uri="{FF2B5EF4-FFF2-40B4-BE49-F238E27FC236}">
                <a16:creationId xmlns="" xmlns:a16="http://schemas.microsoft.com/office/drawing/2014/main" id="{B9380605-3624-9F41-84C7-15AF33549A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8"/>
            <a:ext cx="5689722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4" name="Textplatzhalter 46">
            <a:extLst>
              <a:ext uri="{FF2B5EF4-FFF2-40B4-BE49-F238E27FC236}">
                <a16:creationId xmlns="" xmlns:a16="http://schemas.microsoft.com/office/drawing/2014/main" id="{F4185694-761D-9A4F-97C9-3545E8817C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1107001"/>
            <a:ext cx="5689722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Textmasterformat bearbeite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="" xmlns:a16="http://schemas.microsoft.com/office/drawing/2014/main" id="{24AE887B-FE28-DA4A-9C87-8C4D6B65766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>
            <a:extLst>
              <a:ext uri="{FF2B5EF4-FFF2-40B4-BE49-F238E27FC236}">
                <a16:creationId xmlns="" xmlns:a16="http://schemas.microsoft.com/office/drawing/2014/main" id="{A7F8B744-C88F-0F4E-81E6-8B27CE42C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A047DA73-4322-6345-9E96-7D6FECA7BB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E73BE5B-6839-400E-8096-642BB331A383}" type="datetime1">
              <a:rPr lang="de-DE" smtClean="0"/>
              <a:t>23.08.2021</a:t>
            </a:fld>
            <a:endParaRPr lang="de-DE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3139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40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26334925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Folie" r:id="rId37" imgW="338" imgH="344" progId="TCLayout.ActiveDocument.1">
                  <p:embed/>
                </p:oleObj>
              </mc:Choice>
              <mc:Fallback>
                <p:oleObj name="think-cell Folie" r:id="rId37" imgW="338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Gerade Verbindung 6">
            <a:extLst>
              <a:ext uri="{FF2B5EF4-FFF2-40B4-BE49-F238E27FC236}">
                <a16:creationId xmlns="" xmlns:a16="http://schemas.microsoft.com/office/drawing/2014/main" id="{5CF89B9E-1CF2-2941-95FC-27FD76213E11}"/>
              </a:ext>
            </a:extLst>
          </p:cNvPr>
          <p:cNvCxnSpPr>
            <a:cxnSpLocks/>
          </p:cNvCxnSpPr>
          <p:nvPr/>
        </p:nvCxnSpPr>
        <p:spPr>
          <a:xfrm>
            <a:off x="0" y="459000"/>
            <a:ext cx="8820000" cy="0"/>
          </a:xfrm>
          <a:prstGeom prst="line">
            <a:avLst/>
          </a:prstGeom>
          <a:ln w="12700">
            <a:solidFill>
              <a:srgbClr val="8597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>
            <a:extLst>
              <a:ext uri="{FF2B5EF4-FFF2-40B4-BE49-F238E27FC236}">
                <a16:creationId xmlns="" xmlns:a16="http://schemas.microsoft.com/office/drawing/2014/main" id="{7EDB74A1-3DAE-7F44-A6EB-0E1116BBAF33}"/>
              </a:ext>
            </a:extLst>
          </p:cNvPr>
          <p:cNvCxnSpPr>
            <a:cxnSpLocks/>
          </p:cNvCxnSpPr>
          <p:nvPr/>
        </p:nvCxnSpPr>
        <p:spPr>
          <a:xfrm>
            <a:off x="324000" y="499500"/>
            <a:ext cx="8820000" cy="0"/>
          </a:xfrm>
          <a:prstGeom prst="line">
            <a:avLst/>
          </a:prstGeom>
          <a:ln w="12700">
            <a:solidFill>
              <a:srgbClr val="FD78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>
            <a:extLst>
              <a:ext uri="{FF2B5EF4-FFF2-40B4-BE49-F238E27FC236}">
                <a16:creationId xmlns="" xmlns:a16="http://schemas.microsoft.com/office/drawing/2014/main" id="{60F2CCFB-B044-3544-9E42-D78BA40D7FE0}"/>
              </a:ext>
            </a:extLst>
          </p:cNvPr>
          <p:cNvCxnSpPr>
            <a:cxnSpLocks/>
          </p:cNvCxnSpPr>
          <p:nvPr/>
        </p:nvCxnSpPr>
        <p:spPr>
          <a:xfrm>
            <a:off x="324000" y="4749287"/>
            <a:ext cx="8496000" cy="0"/>
          </a:xfrm>
          <a:prstGeom prst="line">
            <a:avLst/>
          </a:prstGeom>
          <a:ln w="6350"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elplatzhalter 2">
            <a:extLst>
              <a:ext uri="{FF2B5EF4-FFF2-40B4-BE49-F238E27FC236}">
                <a16:creationId xmlns="" xmlns:a16="http://schemas.microsoft.com/office/drawing/2014/main" id="{5477DEBA-3CB9-FA43-8E79-C7A8D1B66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4000" y="97977"/>
            <a:ext cx="8586000" cy="315471"/>
          </a:xfrm>
          <a:prstGeom prst="rect">
            <a:avLst/>
          </a:prstGeom>
        </p:spPr>
        <p:txBody>
          <a:bodyPr vert="horz" wrap="square" lIns="68580" tIns="34290" rIns="68580" bIns="34290" rtlCol="0" anchor="ctr">
            <a:sp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6" name="Foliennummernplatzhalter 5">
            <a:extLst>
              <a:ext uri="{FF2B5EF4-FFF2-40B4-BE49-F238E27FC236}">
                <a16:creationId xmlns="" xmlns:a16="http://schemas.microsoft.com/office/drawing/2014/main" id="{9A4E7BAB-D564-E344-B586-7B145070C3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0122" y="4822200"/>
            <a:ext cx="520213" cy="218844"/>
          </a:xfrm>
          <a:prstGeom prst="rect">
            <a:avLst/>
          </a:prstGeom>
          <a:ln>
            <a:noFill/>
          </a:ln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  <a:cs typeface="Arial"/>
              </a:defRPr>
            </a:lvl1pPr>
          </a:lstStyle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7" name="Datumsplatzhalter 3">
            <a:extLst>
              <a:ext uri="{FF2B5EF4-FFF2-40B4-BE49-F238E27FC236}">
                <a16:creationId xmlns="" xmlns:a16="http://schemas.microsoft.com/office/drawing/2014/main" id="{BBBB25BD-A9AF-9241-BD08-DAB94ED948F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9277" y="4821436"/>
            <a:ext cx="716973" cy="218828"/>
          </a:xfrm>
          <a:prstGeom prst="rect">
            <a:avLst/>
          </a:prstGeom>
          <a:ln>
            <a:noFill/>
          </a:ln>
        </p:spPr>
        <p:txBody>
          <a:bodyPr vert="horz" lIns="68580" tIns="34290" rIns="68580" bIns="34290" rtlCol="0" anchor="ctr"/>
          <a:lstStyle>
            <a:lvl1pPr algn="r">
              <a:defRPr sz="900">
                <a:solidFill>
                  <a:srgbClr val="C6C6C6"/>
                </a:solidFill>
                <a:latin typeface="+mn-lt"/>
                <a:cs typeface="Arial"/>
              </a:defRPr>
            </a:lvl1pPr>
          </a:lstStyle>
          <a:p>
            <a:fld id="{EC1613B2-C89F-499A-8C0D-E7D39129207B}" type="datetime1">
              <a:rPr lang="de-DE" smtClean="0"/>
              <a:t>23.08.2021</a:t>
            </a:fld>
            <a:endParaRPr lang="de-DE" dirty="0"/>
          </a:p>
        </p:txBody>
      </p:sp>
      <p:pic>
        <p:nvPicPr>
          <p:cNvPr id="13" name="Grafik 12">
            <a:extLst>
              <a:ext uri="{FF2B5EF4-FFF2-40B4-BE49-F238E27FC236}">
                <a16:creationId xmlns="" xmlns:a16="http://schemas.microsoft.com/office/drawing/2014/main" id="{C1BB55B9-2489-1E42-AA09-640E6326C25B}"/>
              </a:ext>
            </a:extLst>
          </p:cNvPr>
          <p:cNvPicPr>
            <a:picLocks noChangeAspect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21935" y="4846916"/>
            <a:ext cx="1138042" cy="162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="" xmlns:a16="http://schemas.microsoft.com/office/drawing/2014/main" id="{6F13192C-9A02-4848-9F45-ECE48C28E23A}"/>
              </a:ext>
            </a:extLst>
          </p:cNvPr>
          <p:cNvPicPr>
            <a:picLocks noChangeAspect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9218" y="4814100"/>
            <a:ext cx="1041615" cy="276225"/>
          </a:xfrm>
          <a:prstGeom prst="rect">
            <a:avLst/>
          </a:prstGeom>
        </p:spPr>
      </p:pic>
      <p:pic>
        <p:nvPicPr>
          <p:cNvPr id="2050" name="Picture 2" descr="G:\Mafos\Huffer\BHu2020\gemeinsames Template PPT\final\Logos\SHS - Stahl-Holding-Saar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54827" y="4814100"/>
            <a:ext cx="1851955" cy="2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37575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4" r:id="rId1"/>
    <p:sldLayoutId id="2147483687" r:id="rId2"/>
    <p:sldLayoutId id="2147483673" r:id="rId3"/>
    <p:sldLayoutId id="2147483773" r:id="rId4"/>
    <p:sldLayoutId id="2147483712" r:id="rId5"/>
    <p:sldLayoutId id="2147483772" r:id="rId6"/>
    <p:sldLayoutId id="2147483664" r:id="rId7"/>
    <p:sldLayoutId id="2147483769" r:id="rId8"/>
    <p:sldLayoutId id="2147483720" r:id="rId9"/>
    <p:sldLayoutId id="2147483774" r:id="rId10"/>
    <p:sldLayoutId id="2147483722" r:id="rId11"/>
    <p:sldLayoutId id="2147483721" r:id="rId12"/>
    <p:sldLayoutId id="2147483723" r:id="rId13"/>
    <p:sldLayoutId id="2147483716" r:id="rId14"/>
    <p:sldLayoutId id="2147483717" r:id="rId15"/>
    <p:sldLayoutId id="2147483713" r:id="rId16"/>
    <p:sldLayoutId id="2147483775" r:id="rId17"/>
    <p:sldLayoutId id="2147483714" r:id="rId18"/>
    <p:sldLayoutId id="2147483724" r:id="rId19"/>
    <p:sldLayoutId id="2147483771" r:id="rId20"/>
    <p:sldLayoutId id="2147483715" r:id="rId21"/>
    <p:sldLayoutId id="2147483666" r:id="rId22"/>
    <p:sldLayoutId id="2147483665" r:id="rId23"/>
    <p:sldLayoutId id="2147483718" r:id="rId24"/>
    <p:sldLayoutId id="2147483719" r:id="rId25"/>
    <p:sldLayoutId id="2147483682" r:id="rId26"/>
    <p:sldLayoutId id="2147483683" r:id="rId27"/>
    <p:sldLayoutId id="2147483684" r:id="rId28"/>
    <p:sldLayoutId id="2147483685" r:id="rId29"/>
    <p:sldLayoutId id="2147483945" r:id="rId30"/>
    <p:sldLayoutId id="2147483711" r:id="rId31"/>
    <p:sldLayoutId id="2147483946" r:id="rId32"/>
    <p:sldLayoutId id="2147483700" r:id="rId33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1600" b="1" i="0" kern="1200" baseline="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20"/>
          </p:nvPr>
        </p:nvSpPr>
        <p:spPr>
          <a:xfrm>
            <a:off x="1936959" y="1847552"/>
            <a:ext cx="5770930" cy="377026"/>
          </a:xfrm>
        </p:spPr>
        <p:txBody>
          <a:bodyPr/>
          <a:lstStyle/>
          <a:p>
            <a:r>
              <a:rPr lang="de-DE" dirty="0" smtClean="0"/>
              <a:t>Die Arbeitsorganisation der TI-HO/STW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2954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931373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3" name="think-cell Folie" r:id="rId4" imgW="338" imgH="344" progId="TCLayout.ActiveDocument.1">
                  <p:embed/>
                </p:oleObj>
              </mc:Choice>
              <mc:Fallback>
                <p:oleObj name="think-cell Folie" r:id="rId4" imgW="338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234000" y="97977"/>
            <a:ext cx="8586000" cy="315471"/>
          </a:xfrm>
        </p:spPr>
        <p:txBody>
          <a:bodyPr/>
          <a:lstStyle/>
          <a:p>
            <a:r>
              <a:rPr lang="de-DE" dirty="0" smtClean="0"/>
              <a:t>Wie sind wir aufgestellt ?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0"/>
          </p:nvPr>
        </p:nvSpPr>
        <p:spPr>
          <a:xfrm>
            <a:off x="3569277" y="4821436"/>
            <a:ext cx="716973" cy="218828"/>
          </a:xfrm>
        </p:spPr>
        <p:txBody>
          <a:bodyPr/>
          <a:lstStyle/>
          <a:p>
            <a:fld id="{4B7D6D88-F14F-4523-A007-6D27FBACD1E2}" type="datetime1">
              <a:rPr lang="de-DE" smtClean="0"/>
              <a:t>23.08.2021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9"/>
          </p:nvPr>
        </p:nvSpPr>
        <p:spPr>
          <a:xfrm>
            <a:off x="220122" y="4822200"/>
            <a:ext cx="520213" cy="218844"/>
          </a:xfrm>
        </p:spPr>
        <p:txBody>
          <a:bodyPr/>
          <a:lstStyle/>
          <a:p>
            <a:fld id="{8B97E1D9-0739-E445-A7FF-39998847AB6F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</p:spPr>
        <p:txBody>
          <a:bodyPr/>
          <a:lstStyle/>
          <a:p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9490" y="628944"/>
            <a:ext cx="4191510" cy="3974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8998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967090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" name="think-cell Folie" r:id="rId4" imgW="338" imgH="344" progId="TCLayout.ActiveDocument.1">
                  <p:embed/>
                </p:oleObj>
              </mc:Choice>
              <mc:Fallback>
                <p:oleObj name="think-cell Folie" r:id="rId4" imgW="338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234000" y="97977"/>
            <a:ext cx="8586000" cy="315471"/>
          </a:xfrm>
        </p:spPr>
        <p:txBody>
          <a:bodyPr/>
          <a:lstStyle/>
          <a:p>
            <a:r>
              <a:rPr lang="de-DE" dirty="0" smtClean="0"/>
              <a:t>Mit welchem Fokus arbeiten die Teams ?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0"/>
          </p:nvPr>
        </p:nvSpPr>
        <p:spPr>
          <a:xfrm>
            <a:off x="3569277" y="4821436"/>
            <a:ext cx="716973" cy="218828"/>
          </a:xfrm>
        </p:spPr>
        <p:txBody>
          <a:bodyPr/>
          <a:lstStyle/>
          <a:p>
            <a:fld id="{4B7D6D88-F14F-4523-A007-6D27FBACD1E2}" type="datetime1">
              <a:rPr lang="de-DE" smtClean="0"/>
              <a:t>23.08.2021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9"/>
          </p:nvPr>
        </p:nvSpPr>
        <p:spPr>
          <a:xfrm>
            <a:off x="220122" y="4822200"/>
            <a:ext cx="520213" cy="218844"/>
          </a:xfrm>
        </p:spPr>
        <p:txBody>
          <a:bodyPr/>
          <a:lstStyle/>
          <a:p>
            <a:fld id="{8B97E1D9-0739-E445-A7FF-39998847AB6F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2" name="Textfeld 1"/>
          <p:cNvSpPr txBox="1"/>
          <p:nvPr/>
        </p:nvSpPr>
        <p:spPr>
          <a:xfrm>
            <a:off x="234000" y="571500"/>
            <a:ext cx="487595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Die Teams sind nach Fokus der Problemdomäne aufgeteilt.</a:t>
            </a:r>
            <a:endParaRPr lang="de-DE" dirty="0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4936861"/>
              </p:ext>
            </p:extLst>
          </p:nvPr>
        </p:nvGraphicFramePr>
        <p:xfrm>
          <a:off x="311150" y="915670"/>
          <a:ext cx="8508848" cy="37515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7450"/>
                <a:gridCol w="2413000"/>
                <a:gridCol w="2432050"/>
                <a:gridCol w="2476348"/>
              </a:tblGrid>
              <a:tr h="346655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IT-Lab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Speedlane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Projektteam</a:t>
                      </a:r>
                      <a:endParaRPr lang="de-DE" dirty="0"/>
                    </a:p>
                  </a:txBody>
                  <a:tcPr/>
                </a:tc>
              </a:tr>
              <a:tr h="1359659">
                <a:tc>
                  <a:txBody>
                    <a:bodyPr/>
                    <a:lstStyle/>
                    <a:p>
                      <a:r>
                        <a:rPr lang="de-DE" dirty="0" smtClean="0"/>
                        <a:t>Fokus/</a:t>
                      </a:r>
                    </a:p>
                    <a:p>
                      <a:r>
                        <a:rPr lang="de-DE" dirty="0" smtClean="0"/>
                        <a:t>Domän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Chaotisch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dirty="0" smtClean="0"/>
                        <a:t>Neue methodische</a:t>
                      </a:r>
                      <a:r>
                        <a:rPr lang="de-DE" baseline="0" dirty="0" smtClean="0"/>
                        <a:t> Ansätz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baseline="0" dirty="0" smtClean="0"/>
                        <a:t>Zukunftstheme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Komplizier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dirty="0" smtClean="0"/>
                        <a:t>Neue Anforderungen (OPLs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dirty="0" smtClean="0"/>
                        <a:t>Service</a:t>
                      </a:r>
                      <a:r>
                        <a:rPr lang="de-DE" baseline="0" dirty="0" smtClean="0"/>
                        <a:t> (Tagesgeschäft)</a:t>
                      </a:r>
                      <a:endParaRPr lang="de-DE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Komplex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dirty="0" smtClean="0"/>
                        <a:t>Projektgeschäft</a:t>
                      </a:r>
                    </a:p>
                  </a:txBody>
                  <a:tcPr/>
                </a:tc>
              </a:tr>
              <a:tr h="2045266">
                <a:tc>
                  <a:txBody>
                    <a:bodyPr/>
                    <a:lstStyle/>
                    <a:p>
                      <a:r>
                        <a:rPr lang="de-DE" dirty="0" smtClean="0"/>
                        <a:t>Aufgabentyp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dirty="0" smtClean="0"/>
                        <a:t>Studenten evaluieren</a:t>
                      </a:r>
                      <a:r>
                        <a:rPr lang="de-DE" baseline="0" dirty="0" smtClean="0"/>
                        <a:t> neue Möglichkeite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baseline="0" dirty="0" smtClean="0"/>
                        <a:t>Azubis testen neue Möglichkeiten innerhalb der Abteilung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baseline="0" dirty="0" smtClean="0"/>
                        <a:t>Ableiten zukünftiger Schritte für die Abteilung 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passung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timierung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rweiterung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de-DE" sz="14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on bestehenden</a:t>
                      </a:r>
                    </a:p>
                    <a:p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zessen und der</a:t>
                      </a:r>
                      <a:r>
                        <a:rPr lang="de-DE" sz="14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achlichkeit</a:t>
                      </a:r>
                    </a:p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dirty="0" smtClean="0"/>
                        <a:t>Neu Erstellen</a:t>
                      </a:r>
                      <a:r>
                        <a:rPr lang="de-DE" baseline="0" dirty="0" smtClean="0"/>
                        <a:t> und Hinterfragen von Software für </a:t>
                      </a: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zesse und Fachlichkei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14136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379897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Folie" r:id="rId4" imgW="338" imgH="344" progId="TCLayout.ActiveDocument.1">
                  <p:embed/>
                </p:oleObj>
              </mc:Choice>
              <mc:Fallback>
                <p:oleObj name="think-cell Folie" r:id="rId4" imgW="338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234000" y="97977"/>
            <a:ext cx="8586000" cy="315471"/>
          </a:xfrm>
        </p:spPr>
        <p:txBody>
          <a:bodyPr/>
          <a:lstStyle/>
          <a:p>
            <a:r>
              <a:rPr lang="de-DE" dirty="0" smtClean="0"/>
              <a:t>Welche Werte geben unserem Team Orientierung ?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0"/>
          </p:nvPr>
        </p:nvSpPr>
        <p:spPr>
          <a:xfrm>
            <a:off x="3569277" y="4821436"/>
            <a:ext cx="716973" cy="218828"/>
          </a:xfrm>
        </p:spPr>
        <p:txBody>
          <a:bodyPr/>
          <a:lstStyle/>
          <a:p>
            <a:fld id="{4B7D6D88-F14F-4523-A007-6D27FBACD1E2}" type="datetime1">
              <a:rPr lang="de-DE" smtClean="0"/>
              <a:t>23.08.2021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9"/>
          </p:nvPr>
        </p:nvSpPr>
        <p:spPr>
          <a:xfrm>
            <a:off x="220122" y="4822200"/>
            <a:ext cx="520213" cy="218844"/>
          </a:xfrm>
        </p:spPr>
        <p:txBody>
          <a:bodyPr/>
          <a:lstStyle/>
          <a:p>
            <a:fld id="{8B97E1D9-0739-E445-A7FF-39998847AB6F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</p:spPr>
        <p:txBody>
          <a:bodyPr/>
          <a:lstStyle/>
          <a:p>
            <a:endParaRPr lang="de-DE" dirty="0"/>
          </a:p>
        </p:txBody>
      </p:sp>
      <p:pic>
        <p:nvPicPr>
          <p:cNvPr id="11266" name="Bild 1" descr="image001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58" t="26407" r="1776" b="3733"/>
          <a:stretch/>
        </p:blipFill>
        <p:spPr bwMode="auto">
          <a:xfrm>
            <a:off x="911802" y="673100"/>
            <a:ext cx="7241368" cy="3968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7678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875967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5" name="think-cell Folie" r:id="rId4" imgW="338" imgH="344" progId="TCLayout.ActiveDocument.1">
                  <p:embed/>
                </p:oleObj>
              </mc:Choice>
              <mc:Fallback>
                <p:oleObj name="think-cell Folie" r:id="rId4" imgW="338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234000" y="97977"/>
            <a:ext cx="8586000" cy="315471"/>
          </a:xfrm>
        </p:spPr>
        <p:txBody>
          <a:bodyPr/>
          <a:lstStyle/>
          <a:p>
            <a:r>
              <a:rPr lang="de-DE" dirty="0" smtClean="0"/>
              <a:t>Warum funktioniert diese Arbeitsorganisation ?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0"/>
          </p:nvPr>
        </p:nvSpPr>
        <p:spPr>
          <a:xfrm>
            <a:off x="3569277" y="4821436"/>
            <a:ext cx="716973" cy="218828"/>
          </a:xfrm>
        </p:spPr>
        <p:txBody>
          <a:bodyPr/>
          <a:lstStyle/>
          <a:p>
            <a:fld id="{4B7D6D88-F14F-4523-A007-6D27FBACD1E2}" type="datetime1">
              <a:rPr lang="de-DE" smtClean="0"/>
              <a:t>23.08.2021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9"/>
          </p:nvPr>
        </p:nvSpPr>
        <p:spPr>
          <a:xfrm>
            <a:off x="220122" y="4822200"/>
            <a:ext cx="520213" cy="218844"/>
          </a:xfrm>
        </p:spPr>
        <p:txBody>
          <a:bodyPr/>
          <a:lstStyle/>
          <a:p>
            <a:fld id="{8B97E1D9-0739-E445-A7FF-39998847AB6F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2" name="Textfeld 1"/>
          <p:cNvSpPr txBox="1"/>
          <p:nvPr/>
        </p:nvSpPr>
        <p:spPr>
          <a:xfrm>
            <a:off x="234000" y="571500"/>
            <a:ext cx="8586000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Im Mittelpunkt steht der </a:t>
            </a:r>
            <a:r>
              <a:rPr lang="de-DE" dirty="0"/>
              <a:t>Service und die </a:t>
            </a:r>
            <a:r>
              <a:rPr lang="de-DE" dirty="0" smtClean="0"/>
              <a:t>Bereitschaft</a:t>
            </a:r>
          </a:p>
          <a:p>
            <a:pPr marL="6286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Dadurch identifizieren und beheben wir Probleme</a:t>
            </a:r>
          </a:p>
          <a:p>
            <a:pPr lvl="1"/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Verbundenheit der einzelnen Teams durch den Service und die Bereitschaft</a:t>
            </a:r>
          </a:p>
          <a:p>
            <a:pPr marL="6286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Jeder ist Teil des Prozesses</a:t>
            </a:r>
          </a:p>
          <a:p>
            <a:pPr lvl="1"/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Keine Aufteilung nach HO, STW oder Softwareprojekten</a:t>
            </a:r>
          </a:p>
          <a:p>
            <a:pPr marL="6286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Keine „Silos“ oder Fachexperten mehr</a:t>
            </a:r>
          </a:p>
          <a:p>
            <a:pPr marL="628650" lvl="1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628650" lvl="1" indent="-285750">
              <a:buFont typeface="Arial" panose="020B0604020202020204" pitchFamily="34" charset="0"/>
              <a:buChar char="•"/>
            </a:pPr>
            <a:endParaRPr lang="de-DE" dirty="0" smtClean="0"/>
          </a:p>
          <a:p>
            <a:r>
              <a:rPr lang="de-DE" dirty="0" smtClean="0"/>
              <a:t>Wir haben unsere Systeme im Griff -&gt; Werterhal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6303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71146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" name="think-cell Folie" r:id="rId4" imgW="338" imgH="344" progId="TCLayout.ActiveDocument.1">
                  <p:embed/>
                </p:oleObj>
              </mc:Choice>
              <mc:Fallback>
                <p:oleObj name="think-cell Folie" r:id="rId4" imgW="338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234000" y="97977"/>
            <a:ext cx="8586000" cy="315471"/>
          </a:xfrm>
        </p:spPr>
        <p:txBody>
          <a:bodyPr/>
          <a:lstStyle/>
          <a:p>
            <a:r>
              <a:rPr lang="de-DE" dirty="0" smtClean="0"/>
              <a:t>Warum funktioniert diese Arbeitsorganisation ?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0"/>
          </p:nvPr>
        </p:nvSpPr>
        <p:spPr>
          <a:xfrm>
            <a:off x="3569277" y="4821436"/>
            <a:ext cx="716973" cy="218828"/>
          </a:xfrm>
        </p:spPr>
        <p:txBody>
          <a:bodyPr/>
          <a:lstStyle/>
          <a:p>
            <a:fld id="{4B7D6D88-F14F-4523-A007-6D27FBACD1E2}" type="datetime1">
              <a:rPr lang="de-DE" smtClean="0"/>
              <a:t>23.08.2021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9"/>
          </p:nvPr>
        </p:nvSpPr>
        <p:spPr>
          <a:xfrm>
            <a:off x="220122" y="4822200"/>
            <a:ext cx="520213" cy="218844"/>
          </a:xfrm>
        </p:spPr>
        <p:txBody>
          <a:bodyPr/>
          <a:lstStyle/>
          <a:p>
            <a:fld id="{8B97E1D9-0739-E445-A7FF-39998847AB6F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2" name="Textfeld 1"/>
          <p:cNvSpPr txBox="1"/>
          <p:nvPr/>
        </p:nvSpPr>
        <p:spPr>
          <a:xfrm>
            <a:off x="234000" y="571500"/>
            <a:ext cx="8586000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Absprache innerhalb der Tea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Wöchentlicher Austausch was die Teams erreicht haben (</a:t>
            </a:r>
            <a:r>
              <a:rPr lang="de-DE" dirty="0" err="1" smtClean="0"/>
              <a:t>Friday</a:t>
            </a:r>
            <a:r>
              <a:rPr lang="de-DE" dirty="0" smtClean="0"/>
              <a:t> </a:t>
            </a:r>
            <a:r>
              <a:rPr lang="de-DE" dirty="0" err="1" smtClean="0"/>
              <a:t>Wins</a:t>
            </a:r>
            <a:r>
              <a:rPr lang="de-DE" dirty="0" smtClean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Besprechungen </a:t>
            </a:r>
            <a:r>
              <a:rPr lang="de-DE" dirty="0"/>
              <a:t>-&gt; Input aus den verschiedenen </a:t>
            </a:r>
            <a:r>
              <a:rPr lang="de-DE" dirty="0" smtClean="0"/>
              <a:t>Teams</a:t>
            </a:r>
          </a:p>
          <a:p>
            <a:pPr marL="6286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Quick Design Session (QDS)</a:t>
            </a:r>
          </a:p>
          <a:p>
            <a:pPr marL="6286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Clean Code Developer (CCD)</a:t>
            </a:r>
          </a:p>
          <a:p>
            <a:pPr marL="6286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Bereitschaftsübergabe </a:t>
            </a:r>
          </a:p>
          <a:p>
            <a:pPr marL="6286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Retrospektive  </a:t>
            </a:r>
          </a:p>
          <a:p>
            <a:r>
              <a:rPr lang="de-DE" dirty="0"/>
              <a:t>	</a:t>
            </a:r>
            <a:r>
              <a:rPr lang="de-DE" dirty="0" smtClean="0"/>
              <a:t>	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Wir entwickeln ein gemeinsames Verständnis </a:t>
            </a:r>
          </a:p>
          <a:p>
            <a:pPr marL="6286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Wichtige </a:t>
            </a:r>
            <a:r>
              <a:rPr lang="de-DE" dirty="0"/>
              <a:t>Dinge können von dringenden unterschieden </a:t>
            </a:r>
            <a:r>
              <a:rPr lang="de-DE" dirty="0" smtClean="0"/>
              <a:t>werden</a:t>
            </a:r>
            <a:endParaRPr lang="de-DE" dirty="0"/>
          </a:p>
          <a:p>
            <a:pPr marL="6286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Wichtige </a:t>
            </a:r>
            <a:r>
              <a:rPr lang="de-DE" dirty="0"/>
              <a:t>Dingen können von unwichtigen unterschieden </a:t>
            </a:r>
            <a:r>
              <a:rPr lang="de-DE" dirty="0" smtClean="0"/>
              <a:t>wer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Wir unterstützen uns gegenseitig bei Problem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Wir geben regelmäßig Feedback, um uns weiterzuentwickeln</a:t>
            </a:r>
          </a:p>
          <a:p>
            <a:pPr lvl="1"/>
            <a:endParaRPr lang="de-DE" dirty="0"/>
          </a:p>
          <a:p>
            <a:pPr marL="628650" lvl="1" indent="-285750">
              <a:buFont typeface="Arial" panose="020B0604020202020204" pitchFamily="34" charset="0"/>
              <a:buChar char="•"/>
            </a:pPr>
            <a:endParaRPr lang="de-DE" dirty="0" smtClean="0"/>
          </a:p>
          <a:p>
            <a:r>
              <a:rPr lang="de-DE" dirty="0" smtClean="0"/>
              <a:t>Wir verbessern unsere Arbeitsweise und Kommunikation -&gt; Wertsteiger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6731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llinger_Saarstahl_SHS_Stahl-Holding-Saar_16zu9">
  <a:themeElements>
    <a:clrScheme name="SAG-DH-Mix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C6707"/>
      </a:accent1>
      <a:accent2>
        <a:srgbClr val="00628A"/>
      </a:accent2>
      <a:accent3>
        <a:srgbClr val="AF1B67"/>
      </a:accent3>
      <a:accent4>
        <a:srgbClr val="FDC300"/>
      </a:accent4>
      <a:accent5>
        <a:srgbClr val="008000"/>
      </a:accent5>
      <a:accent6>
        <a:srgbClr val="7D7D7D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Unternehmenspräsenation2020_Dillinger_Saarstahl_Stand_16zu9_200817" id="{08637ECF-655B-654B-BA72-F9B346294893}" vid="{9284C7CB-B7B1-9D4D-9C80-2612D52B34E8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illinger_Saarstahl_SHS_Stahl-Holding-Saar_16zu9</Template>
  <TotalTime>0</TotalTime>
  <Words>200</Words>
  <Application>Microsoft Office PowerPoint</Application>
  <PresentationFormat>Bildschirmpräsentation (16:9)</PresentationFormat>
  <Paragraphs>68</Paragraphs>
  <Slides>6</Slides>
  <Notes>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8" baseType="lpstr">
      <vt:lpstr>Dillinger_Saarstahl_SHS_Stahl-Holding-Saar_16zu9</vt:lpstr>
      <vt:lpstr>think-cell Folie</vt:lpstr>
      <vt:lpstr>PowerPoint-Präsentation</vt:lpstr>
      <vt:lpstr>Wie sind wir aufgestellt ?</vt:lpstr>
      <vt:lpstr>Mit welchem Fokus arbeiten die Teams ?</vt:lpstr>
      <vt:lpstr>Welche Werte geben unserem Team Orientierung ?</vt:lpstr>
      <vt:lpstr>Warum funktioniert diese Arbeitsorganisation ?</vt:lpstr>
      <vt:lpstr>Warum funktioniert diese Arbeitsorganisation ?</vt:lpstr>
    </vt:vector>
  </TitlesOfParts>
  <Company>DH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REUTER, Marc, TI-WW</dc:creator>
  <cp:lastModifiedBy>REUTER, Marc, TI-WW</cp:lastModifiedBy>
  <cp:revision>20</cp:revision>
  <dcterms:created xsi:type="dcterms:W3CDTF">2021-08-03T10:48:36Z</dcterms:created>
  <dcterms:modified xsi:type="dcterms:W3CDTF">2021-08-23T08:48:52Z</dcterms:modified>
</cp:coreProperties>
</file>